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83.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notesSlides/notesSlide23.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diagrams/layout1.xml" ContentType="application/vnd.openxmlformats-officedocument.drawingml.diagramLayout+xml"/>
  <Override PartName="/ppt/tags/tag12.xml" ContentType="application/vnd.openxmlformats-officedocument.presentationml.tags+xml"/>
  <Override PartName="/ppt/tags/tag23.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tags/tag17.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tags/tag24.xml" ContentType="application/vnd.openxmlformats-officedocument.presentationml.tags+xml"/>
  <Override PartName="/ppt/tags/tag13.xml" ContentType="application/vnd.openxmlformats-officedocument.presentationml.tags+xml"/>
  <Override PartName="/ppt/slides/slide49.xml" ContentType="application/vnd.openxmlformats-officedocument.presentationml.slide+xml"/>
  <Override PartName="/ppt/slides/slide7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notesSlides/notesSlide18.xml" ContentType="application/vnd.openxmlformats-officedocument.presentationml.notesSlide+xml"/>
  <Override PartName="/ppt/tags/tag2.xml" ContentType="application/vnd.openxmlformats-officedocument.presentationml.tags+xml"/>
  <Default Extension="wmf" ContentType="image/x-wmf"/>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32.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slides/slide79.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tags/tag19.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diagrams/data1.xml" ContentType="application/vnd.openxmlformats-officedocument.drawingml.diagramData+xml"/>
  <Override PartName="/ppt/tags/tag11.xml" ContentType="application/vnd.openxmlformats-officedocument.presentationml.tags+xml"/>
  <Override PartName="/ppt/slides/slide29.xml" ContentType="application/vnd.openxmlformats-officedocument.presentationml.slide+xml"/>
  <Override PartName="/ppt/slides/slide76.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5" r:id="rId1"/>
  </p:sldMasterIdLst>
  <p:notesMasterIdLst>
    <p:notesMasterId r:id="rId88"/>
  </p:notesMasterIdLst>
  <p:handoutMasterIdLst>
    <p:handoutMasterId r:id="rId89"/>
  </p:handoutMasterIdLst>
  <p:sldIdLst>
    <p:sldId id="916" r:id="rId2"/>
    <p:sldId id="917" r:id="rId3"/>
    <p:sldId id="918" r:id="rId4"/>
    <p:sldId id="1148" r:id="rId5"/>
    <p:sldId id="1147" r:id="rId6"/>
    <p:sldId id="1149" r:id="rId7"/>
    <p:sldId id="921" r:id="rId8"/>
    <p:sldId id="1151" r:id="rId9"/>
    <p:sldId id="923" r:id="rId10"/>
    <p:sldId id="924" r:id="rId11"/>
    <p:sldId id="927" r:id="rId12"/>
    <p:sldId id="928" r:id="rId13"/>
    <p:sldId id="929" r:id="rId14"/>
    <p:sldId id="930" r:id="rId15"/>
    <p:sldId id="931" r:id="rId16"/>
    <p:sldId id="932" r:id="rId17"/>
    <p:sldId id="933" r:id="rId18"/>
    <p:sldId id="934" r:id="rId19"/>
    <p:sldId id="935" r:id="rId20"/>
    <p:sldId id="1014" r:id="rId21"/>
    <p:sldId id="1015" r:id="rId22"/>
    <p:sldId id="1016" r:id="rId23"/>
    <p:sldId id="1017" r:id="rId24"/>
    <p:sldId id="1018" r:id="rId25"/>
    <p:sldId id="1013" r:id="rId26"/>
    <p:sldId id="1019" r:id="rId27"/>
    <p:sldId id="1152" r:id="rId28"/>
    <p:sldId id="1153" r:id="rId29"/>
    <p:sldId id="936" r:id="rId30"/>
    <p:sldId id="937" r:id="rId31"/>
    <p:sldId id="939" r:id="rId32"/>
    <p:sldId id="940" r:id="rId33"/>
    <p:sldId id="941" r:id="rId34"/>
    <p:sldId id="942" r:id="rId35"/>
    <p:sldId id="943" r:id="rId36"/>
    <p:sldId id="944" r:id="rId37"/>
    <p:sldId id="945" r:id="rId38"/>
    <p:sldId id="959" r:id="rId39"/>
    <p:sldId id="960" r:id="rId40"/>
    <p:sldId id="965" r:id="rId41"/>
    <p:sldId id="966" r:id="rId42"/>
    <p:sldId id="967" r:id="rId43"/>
    <p:sldId id="968" r:id="rId44"/>
    <p:sldId id="969" r:id="rId45"/>
    <p:sldId id="970" r:id="rId46"/>
    <p:sldId id="971" r:id="rId47"/>
    <p:sldId id="972" r:id="rId48"/>
    <p:sldId id="973" r:id="rId49"/>
    <p:sldId id="974" r:id="rId50"/>
    <p:sldId id="975" r:id="rId51"/>
    <p:sldId id="976" r:id="rId52"/>
    <p:sldId id="977" r:id="rId53"/>
    <p:sldId id="978" r:id="rId54"/>
    <p:sldId id="979" r:id="rId55"/>
    <p:sldId id="1145" r:id="rId56"/>
    <p:sldId id="1160" r:id="rId57"/>
    <p:sldId id="1161" r:id="rId58"/>
    <p:sldId id="1164" r:id="rId59"/>
    <p:sldId id="1158" r:id="rId60"/>
    <p:sldId id="1159" r:id="rId61"/>
    <p:sldId id="1162" r:id="rId62"/>
    <p:sldId id="1172" r:id="rId63"/>
    <p:sldId id="1165" r:id="rId64"/>
    <p:sldId id="1166" r:id="rId65"/>
    <p:sldId id="1094" r:id="rId66"/>
    <p:sldId id="1095" r:id="rId67"/>
    <p:sldId id="1096" r:id="rId68"/>
    <p:sldId id="1097" r:id="rId69"/>
    <p:sldId id="1098" r:id="rId70"/>
    <p:sldId id="1099" r:id="rId71"/>
    <p:sldId id="1100" r:id="rId72"/>
    <p:sldId id="1167" r:id="rId73"/>
    <p:sldId id="1101" r:id="rId74"/>
    <p:sldId id="1103" r:id="rId75"/>
    <p:sldId id="1169" r:id="rId76"/>
    <p:sldId id="1170" r:id="rId77"/>
    <p:sldId id="1171" r:id="rId78"/>
    <p:sldId id="1104" r:id="rId79"/>
    <p:sldId id="1105" r:id="rId80"/>
    <p:sldId id="1106" r:id="rId81"/>
    <p:sldId id="1107" r:id="rId82"/>
    <p:sldId id="1108" r:id="rId83"/>
    <p:sldId id="1109" r:id="rId84"/>
    <p:sldId id="1110" r:id="rId85"/>
    <p:sldId id="1111" r:id="rId86"/>
    <p:sldId id="1112" r:id="rId87"/>
  </p:sldIdLst>
  <p:sldSz cx="12192000" cy="6858000"/>
  <p:notesSz cx="6669088" cy="9928225"/>
  <p:custDataLst>
    <p:tags r:id="rId90"/>
  </p:custDataLst>
  <p:defaultTextStyle>
    <a:defPPr>
      <a:defRPr lang="zh-CN"/>
    </a:defPPr>
    <a:lvl1pPr algn="l" defTabSz="912813" rtl="0" fontAlgn="base">
      <a:spcBef>
        <a:spcPct val="0"/>
      </a:spcBef>
      <a:spcAft>
        <a:spcPct val="0"/>
      </a:spcAft>
      <a:defRPr kern="1200">
        <a:solidFill>
          <a:schemeClr val="tx1"/>
        </a:solidFill>
        <a:latin typeface="Arial" charset="0"/>
        <a:ea typeface="宋体" charset="-122"/>
        <a:cs typeface="+mn-cs"/>
      </a:defRPr>
    </a:lvl1pPr>
    <a:lvl2pPr marL="455613" indent="1588" algn="l" defTabSz="912813" rtl="0" fontAlgn="base">
      <a:spcBef>
        <a:spcPct val="0"/>
      </a:spcBef>
      <a:spcAft>
        <a:spcPct val="0"/>
      </a:spcAft>
      <a:defRPr kern="1200">
        <a:solidFill>
          <a:schemeClr val="tx1"/>
        </a:solidFill>
        <a:latin typeface="Arial" charset="0"/>
        <a:ea typeface="宋体" charset="-122"/>
        <a:cs typeface="+mn-cs"/>
      </a:defRPr>
    </a:lvl2pPr>
    <a:lvl3pPr marL="912813" indent="1588" algn="l" defTabSz="912813" rtl="0" fontAlgn="base">
      <a:spcBef>
        <a:spcPct val="0"/>
      </a:spcBef>
      <a:spcAft>
        <a:spcPct val="0"/>
      </a:spcAft>
      <a:defRPr kern="1200">
        <a:solidFill>
          <a:schemeClr val="tx1"/>
        </a:solidFill>
        <a:latin typeface="Arial" charset="0"/>
        <a:ea typeface="宋体" charset="-122"/>
        <a:cs typeface="+mn-cs"/>
      </a:defRPr>
    </a:lvl3pPr>
    <a:lvl4pPr marL="1370013" indent="1588" algn="l" defTabSz="912813" rtl="0" fontAlgn="base">
      <a:spcBef>
        <a:spcPct val="0"/>
      </a:spcBef>
      <a:spcAft>
        <a:spcPct val="0"/>
      </a:spcAft>
      <a:defRPr kern="1200">
        <a:solidFill>
          <a:schemeClr val="tx1"/>
        </a:solidFill>
        <a:latin typeface="Arial" charset="0"/>
        <a:ea typeface="宋体" charset="-122"/>
        <a:cs typeface="+mn-cs"/>
      </a:defRPr>
    </a:lvl4pPr>
    <a:lvl5pPr marL="1827213" indent="1588" algn="l" defTabSz="912813"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FF6400"/>
    <a:srgbClr val="CC66FF"/>
    <a:srgbClr val="7BC5DC"/>
    <a:srgbClr val="000000"/>
    <a:srgbClr val="FFFF00"/>
    <a:srgbClr val="F7764E"/>
    <a:srgbClr val="6BC6E8"/>
    <a:srgbClr val="7BC6A5"/>
  </p:clrMru>
</p:presentationPr>
</file>

<file path=ppt/tableStyles.xml><?xml version="1.0" encoding="utf-8"?>
<a:tblStyleLst xmlns:a="http://schemas.openxmlformats.org/drawingml/2006/main" def="{5C22544A-7EE6-4342-B048-85BDC9FD1C3A}">
  <a:tblStyle styleId="{7E9639D4-E3E2-4D34-9284-5A2195B3D0D7}" styleName="浅色样式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浅色样式 2 - 强调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19" autoAdjust="0"/>
    <p:restoredTop sz="83789" autoAdjust="0"/>
  </p:normalViewPr>
  <p:slideViewPr>
    <p:cSldViewPr>
      <p:cViewPr varScale="1">
        <p:scale>
          <a:sx n="78" d="100"/>
          <a:sy n="78" d="100"/>
        </p:scale>
        <p:origin x="-336" y="-84"/>
      </p:cViewPr>
      <p:guideLst>
        <p:guide orient="horz" pos="2160"/>
        <p:guide pos="3840"/>
      </p:guideLst>
    </p:cSldViewPr>
  </p:slideViewPr>
  <p:outlineViewPr>
    <p:cViewPr>
      <p:scale>
        <a:sx n="33" d="100"/>
        <a:sy n="33" d="100"/>
      </p:scale>
      <p:origin x="0" y="-4782"/>
    </p:cViewPr>
  </p:outlineViewPr>
  <p:notesTextViewPr>
    <p:cViewPr>
      <p:scale>
        <a:sx n="3" d="2"/>
        <a:sy n="3" d="2"/>
      </p:scale>
      <p:origin x="0" y="0"/>
    </p:cViewPr>
  </p:notesTextViewPr>
  <p:sorterViewPr>
    <p:cViewPr varScale="1">
      <p:scale>
        <a:sx n="1" d="1"/>
        <a:sy n="1" d="1"/>
      </p:scale>
      <p:origin x="0" y="-32550"/>
    </p:cViewPr>
  </p:sorterViewPr>
  <p:notesViewPr>
    <p:cSldViewPr>
      <p:cViewPr varScale="1">
        <p:scale>
          <a:sx n="54" d="100"/>
          <a:sy n="54" d="100"/>
        </p:scale>
        <p:origin x="-2916" y="-84"/>
      </p:cViewPr>
      <p:guideLst>
        <p:guide orient="horz" pos="3127"/>
        <p:guide pos="2101"/>
      </p:guideLst>
    </p:cSldViewPr>
  </p:notesViewPr>
  <p:gridSpacing cx="36868100" cy="368681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tags" Target="tags/tag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notesMaster" Target="notesMasters/notesMaster1.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E97853-BE1F-4D75-9161-70C64C0C6BA5}" type="doc">
      <dgm:prSet loTypeId="urn:microsoft.com/office/officeart/2005/8/layout/vList6" loCatId="list" qsTypeId="urn:microsoft.com/office/officeart/2005/8/quickstyle/simple1#1" qsCatId="simple" csTypeId="urn:microsoft.com/office/officeart/2005/8/colors/accent1_2#1" csCatId="accent1" phldr="1"/>
      <dgm:spPr/>
      <dgm:t>
        <a:bodyPr/>
        <a:lstStyle/>
        <a:p>
          <a:endParaRPr lang="zh-CN" altLang="en-US"/>
        </a:p>
      </dgm:t>
    </dgm:pt>
    <dgm:pt modelId="{9D9B4127-419C-4C8E-9C6C-03A78BE6DA0D}">
      <dgm:prSet phldrT="[文本]" custT="1"/>
      <dgm:spPr/>
      <dgm:t>
        <a:bodyPr/>
        <a:lstStyle/>
        <a:p>
          <a:pPr algn="l"/>
          <a:r>
            <a:rPr lang="zh-CN" altLang="en-US" sz="2000" dirty="0" smtClean="0"/>
            <a:t>消费市场销售额增速放缓至</a:t>
          </a:r>
          <a:r>
            <a:rPr lang="en-US" altLang="zh-CN" sz="3600" b="1" u="sng" dirty="0" smtClean="0"/>
            <a:t>3.5%</a:t>
          </a:r>
          <a:endParaRPr lang="zh-CN" altLang="en-US" sz="2000" b="1" u="sng" dirty="0"/>
        </a:p>
      </dgm:t>
    </dgm:pt>
    <dgm:pt modelId="{BC40BD53-1459-40E2-B056-A99DBF840166}" type="parTrans" cxnId="{ED9C4D19-D352-43D4-9CAB-C244CA1F489C}">
      <dgm:prSet/>
      <dgm:spPr/>
      <dgm:t>
        <a:bodyPr/>
        <a:lstStyle/>
        <a:p>
          <a:endParaRPr lang="zh-CN" altLang="en-US" sz="900"/>
        </a:p>
      </dgm:t>
    </dgm:pt>
    <dgm:pt modelId="{C4500737-81A3-475F-A8F6-71BFE657686C}" type="sibTrans" cxnId="{ED9C4D19-D352-43D4-9CAB-C244CA1F489C}">
      <dgm:prSet/>
      <dgm:spPr/>
      <dgm:t>
        <a:bodyPr/>
        <a:lstStyle/>
        <a:p>
          <a:endParaRPr lang="zh-CN" altLang="en-US" sz="900"/>
        </a:p>
      </dgm:t>
    </dgm:pt>
    <dgm:pt modelId="{490B4B5F-746F-4756-B8AC-6CEEDB85B301}">
      <dgm:prSet phldrT="[文本]" custT="1"/>
      <dgm:spPr/>
      <dgm:t>
        <a:bodyPr anchor="ctr"/>
        <a:lstStyle/>
        <a:p>
          <a:pPr algn="l"/>
          <a:r>
            <a:rPr lang="zh-CN" altLang="en-US" sz="2000" b="1" dirty="0" smtClean="0"/>
            <a:t>宏观经济增速放缓</a:t>
          </a:r>
          <a:endParaRPr lang="zh-CN" altLang="en-US" sz="2000" b="1" dirty="0"/>
        </a:p>
      </dgm:t>
    </dgm:pt>
    <dgm:pt modelId="{D2ED5F8E-D1E9-49CA-8AA0-31B9D58BE0D3}" type="parTrans" cxnId="{1C71B291-BF95-46DD-A3A8-E9E8D330F6D0}">
      <dgm:prSet/>
      <dgm:spPr/>
      <dgm:t>
        <a:bodyPr/>
        <a:lstStyle/>
        <a:p>
          <a:endParaRPr lang="zh-CN" altLang="en-US" sz="900"/>
        </a:p>
      </dgm:t>
    </dgm:pt>
    <dgm:pt modelId="{F41974A1-1E9D-490B-90AB-4EBCE60A2885}" type="sibTrans" cxnId="{1C71B291-BF95-46DD-A3A8-E9E8D330F6D0}">
      <dgm:prSet/>
      <dgm:spPr/>
      <dgm:t>
        <a:bodyPr/>
        <a:lstStyle/>
        <a:p>
          <a:endParaRPr lang="zh-CN" altLang="en-US" sz="900"/>
        </a:p>
      </dgm:t>
    </dgm:pt>
    <dgm:pt modelId="{4825F666-CCF8-4559-8708-E30FFB462926}">
      <dgm:prSet phldrT="[文本]" custT="1"/>
      <dgm:spPr/>
      <dgm:t>
        <a:bodyPr anchor="ctr"/>
        <a:lstStyle/>
        <a:p>
          <a:pPr algn="l"/>
          <a:r>
            <a:rPr lang="zh-CN" altLang="en-US" sz="2400" b="1" dirty="0" smtClean="0"/>
            <a:t>消费升级</a:t>
          </a:r>
          <a:endParaRPr lang="zh-CN" altLang="en-US" sz="2400" b="1" dirty="0"/>
        </a:p>
      </dgm:t>
    </dgm:pt>
    <dgm:pt modelId="{B27E5812-60BD-4972-9929-59809AF90F0C}" type="parTrans" cxnId="{137F6CEC-789D-48A2-A3FD-8565BC75CED3}">
      <dgm:prSet/>
      <dgm:spPr/>
      <dgm:t>
        <a:bodyPr/>
        <a:lstStyle/>
        <a:p>
          <a:endParaRPr lang="zh-CN" altLang="en-US" sz="900"/>
        </a:p>
      </dgm:t>
    </dgm:pt>
    <dgm:pt modelId="{BABDFF94-E1AA-4355-B35E-69D8283733D1}" type="sibTrans" cxnId="{137F6CEC-789D-48A2-A3FD-8565BC75CED3}">
      <dgm:prSet/>
      <dgm:spPr/>
      <dgm:t>
        <a:bodyPr/>
        <a:lstStyle/>
        <a:p>
          <a:endParaRPr lang="zh-CN" altLang="en-US" sz="900"/>
        </a:p>
      </dgm:t>
    </dgm:pt>
    <dgm:pt modelId="{A02F83E3-CE76-4BD7-84D5-6736C3767A43}" type="pres">
      <dgm:prSet presAssocID="{5DE97853-BE1F-4D75-9161-70C64C0C6BA5}" presName="Name0" presStyleCnt="0">
        <dgm:presLayoutVars>
          <dgm:dir/>
          <dgm:animLvl val="lvl"/>
          <dgm:resizeHandles/>
        </dgm:presLayoutVars>
      </dgm:prSet>
      <dgm:spPr/>
      <dgm:t>
        <a:bodyPr/>
        <a:lstStyle/>
        <a:p>
          <a:endParaRPr lang="zh-CN" altLang="en-US"/>
        </a:p>
      </dgm:t>
    </dgm:pt>
    <dgm:pt modelId="{6846170B-A4B5-4FBB-8DD1-55A419C5F813}" type="pres">
      <dgm:prSet presAssocID="{9D9B4127-419C-4C8E-9C6C-03A78BE6DA0D}" presName="linNode" presStyleCnt="0"/>
      <dgm:spPr/>
    </dgm:pt>
    <dgm:pt modelId="{D62AB677-5C4A-4FE3-B25C-1293BF1F4255}" type="pres">
      <dgm:prSet presAssocID="{9D9B4127-419C-4C8E-9C6C-03A78BE6DA0D}" presName="parentShp" presStyleLbl="node1" presStyleIdx="0" presStyleCnt="1" custScaleX="94009" custScaleY="61554">
        <dgm:presLayoutVars>
          <dgm:bulletEnabled val="1"/>
        </dgm:presLayoutVars>
      </dgm:prSet>
      <dgm:spPr/>
      <dgm:t>
        <a:bodyPr/>
        <a:lstStyle/>
        <a:p>
          <a:endParaRPr lang="zh-CN" altLang="en-US"/>
        </a:p>
      </dgm:t>
    </dgm:pt>
    <dgm:pt modelId="{ECC78F85-A862-4199-93F9-4EE6D09F2ABD}" type="pres">
      <dgm:prSet presAssocID="{9D9B4127-419C-4C8E-9C6C-03A78BE6DA0D}" presName="childShp" presStyleLbl="bgAccFollowNode1" presStyleIdx="0" presStyleCnt="1" custScaleX="83807" custScaleY="60675">
        <dgm:presLayoutVars>
          <dgm:bulletEnabled val="1"/>
        </dgm:presLayoutVars>
      </dgm:prSet>
      <dgm:spPr/>
      <dgm:t>
        <a:bodyPr/>
        <a:lstStyle/>
        <a:p>
          <a:endParaRPr lang="zh-CN" altLang="en-US"/>
        </a:p>
      </dgm:t>
    </dgm:pt>
  </dgm:ptLst>
  <dgm:cxnLst>
    <dgm:cxn modelId="{57BECF6B-21B6-40D9-9D1A-1833D7941F2D}" type="presOf" srcId="{5DE97853-BE1F-4D75-9161-70C64C0C6BA5}" destId="{A02F83E3-CE76-4BD7-84D5-6736C3767A43}" srcOrd="0" destOrd="0" presId="urn:microsoft.com/office/officeart/2005/8/layout/vList6"/>
    <dgm:cxn modelId="{BEE1B67D-A260-46DB-99E5-C3AA08414E78}" type="presOf" srcId="{9D9B4127-419C-4C8E-9C6C-03A78BE6DA0D}" destId="{D62AB677-5C4A-4FE3-B25C-1293BF1F4255}" srcOrd="0" destOrd="0" presId="urn:microsoft.com/office/officeart/2005/8/layout/vList6"/>
    <dgm:cxn modelId="{137F6CEC-789D-48A2-A3FD-8565BC75CED3}" srcId="{9D9B4127-419C-4C8E-9C6C-03A78BE6DA0D}" destId="{4825F666-CCF8-4559-8708-E30FFB462926}" srcOrd="1" destOrd="0" parTransId="{B27E5812-60BD-4972-9929-59809AF90F0C}" sibTransId="{BABDFF94-E1AA-4355-B35E-69D8283733D1}"/>
    <dgm:cxn modelId="{ED9C4D19-D352-43D4-9CAB-C244CA1F489C}" srcId="{5DE97853-BE1F-4D75-9161-70C64C0C6BA5}" destId="{9D9B4127-419C-4C8E-9C6C-03A78BE6DA0D}" srcOrd="0" destOrd="0" parTransId="{BC40BD53-1459-40E2-B056-A99DBF840166}" sibTransId="{C4500737-81A3-475F-A8F6-71BFE657686C}"/>
    <dgm:cxn modelId="{1C71B291-BF95-46DD-A3A8-E9E8D330F6D0}" srcId="{9D9B4127-419C-4C8E-9C6C-03A78BE6DA0D}" destId="{490B4B5F-746F-4756-B8AC-6CEEDB85B301}" srcOrd="0" destOrd="0" parTransId="{D2ED5F8E-D1E9-49CA-8AA0-31B9D58BE0D3}" sibTransId="{F41974A1-1E9D-490B-90AB-4EBCE60A2885}"/>
    <dgm:cxn modelId="{E4A857E5-158B-4A00-891A-67B8E913CDD5}" type="presOf" srcId="{4825F666-CCF8-4559-8708-E30FFB462926}" destId="{ECC78F85-A862-4199-93F9-4EE6D09F2ABD}" srcOrd="0" destOrd="1" presId="urn:microsoft.com/office/officeart/2005/8/layout/vList6"/>
    <dgm:cxn modelId="{F6E04BAE-7C1D-4E36-B29A-654D639CAC75}" type="presOf" srcId="{490B4B5F-746F-4756-B8AC-6CEEDB85B301}" destId="{ECC78F85-A862-4199-93F9-4EE6D09F2ABD}" srcOrd="0" destOrd="0" presId="urn:microsoft.com/office/officeart/2005/8/layout/vList6"/>
    <dgm:cxn modelId="{CC647EDB-30B7-4D6D-8CC1-7231CD576C98}" type="presParOf" srcId="{A02F83E3-CE76-4BD7-84D5-6736C3767A43}" destId="{6846170B-A4B5-4FBB-8DD1-55A419C5F813}" srcOrd="0" destOrd="0" presId="urn:microsoft.com/office/officeart/2005/8/layout/vList6"/>
    <dgm:cxn modelId="{D33829F6-E795-4991-9D8D-135328424B72}" type="presParOf" srcId="{6846170B-A4B5-4FBB-8DD1-55A419C5F813}" destId="{D62AB677-5C4A-4FE3-B25C-1293BF1F4255}" srcOrd="0" destOrd="0" presId="urn:microsoft.com/office/officeart/2005/8/layout/vList6"/>
    <dgm:cxn modelId="{EACDDD78-99E7-46D8-B908-8C50F925DDA7}" type="presParOf" srcId="{6846170B-A4B5-4FBB-8DD1-55A419C5F813}" destId="{ECC78F85-A862-4199-93F9-4EE6D09F2ABD}" srcOrd="1" destOrd="0" presId="urn:microsoft.com/office/officeart/2005/8/layout/vList6"/>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image" Target="../media/image18.png"/></Relationships>
</file>

<file path=ppt/drawings/_rels/vmlDrawing2.v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image" Target="../media/image20.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1.png"/></Relationships>
</file>

<file path=ppt/drawings/_rels/vmlDrawing4.v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image" Target="../media/image87.png"/><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drawings/_rels/vmlDrawing5.v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image" Target="../media/image94.png"/><Relationship Id="rId4" Type="http://schemas.openxmlformats.org/officeDocument/2006/relationships/image" Target="../media/image97.png"/></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image" Target="../media/image99.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889250" cy="496888"/>
          </a:xfrm>
          <a:prstGeom prst="rect">
            <a:avLst/>
          </a:prstGeom>
        </p:spPr>
        <p:txBody>
          <a:bodyPr vert="horz" lIns="91440" tIns="45720" rIns="91440" bIns="45720" rtlCol="0"/>
          <a:lstStyle>
            <a:lvl1pPr algn="l" defTabSz="914377" fontAlgn="auto">
              <a:spcBef>
                <a:spcPts val="0"/>
              </a:spcBef>
              <a:spcAft>
                <a:spcPts val="0"/>
              </a:spcAft>
              <a:defRPr sz="1200">
                <a:latin typeface="+mn-lt"/>
                <a:ea typeface="+mn-ea"/>
              </a:defRPr>
            </a:lvl1pPr>
          </a:lstStyle>
          <a:p>
            <a:pPr>
              <a:defRPr/>
            </a:pPr>
            <a:endParaRPr lang="zh-CN" altLang="en-US"/>
          </a:p>
        </p:txBody>
      </p:sp>
      <p:sp>
        <p:nvSpPr>
          <p:cNvPr id="3" name="日期占位符 2"/>
          <p:cNvSpPr>
            <a:spLocks noGrp="1"/>
          </p:cNvSpPr>
          <p:nvPr>
            <p:ph type="dt" sz="quarter" idx="1"/>
          </p:nvPr>
        </p:nvSpPr>
        <p:spPr>
          <a:xfrm>
            <a:off x="3778250" y="0"/>
            <a:ext cx="2889250" cy="496888"/>
          </a:xfrm>
          <a:prstGeom prst="rect">
            <a:avLst/>
          </a:prstGeom>
        </p:spPr>
        <p:txBody>
          <a:bodyPr vert="horz" lIns="91440" tIns="45720" rIns="91440" bIns="45720" rtlCol="0"/>
          <a:lstStyle>
            <a:lvl1pPr algn="r" defTabSz="914377" fontAlgn="auto">
              <a:spcBef>
                <a:spcPts val="0"/>
              </a:spcBef>
              <a:spcAft>
                <a:spcPts val="0"/>
              </a:spcAft>
              <a:defRPr sz="1200" smtClean="0">
                <a:latin typeface="+mn-lt"/>
                <a:ea typeface="+mn-ea"/>
              </a:defRPr>
            </a:lvl1pPr>
          </a:lstStyle>
          <a:p>
            <a:pPr>
              <a:defRPr/>
            </a:pPr>
            <a:fld id="{6FCF5151-7CDC-4125-B39F-58F3946827A5}" type="datetimeFigureOut">
              <a:rPr lang="zh-CN" altLang="en-US"/>
              <a:pPr>
                <a:defRPr/>
              </a:pPr>
              <a:t>2017/8/24</a:t>
            </a:fld>
            <a:endParaRPr lang="zh-CN" altLang="en-US"/>
          </a:p>
        </p:txBody>
      </p:sp>
      <p:sp>
        <p:nvSpPr>
          <p:cNvPr id="4" name="页脚占位符 3"/>
          <p:cNvSpPr>
            <a:spLocks noGrp="1"/>
          </p:cNvSpPr>
          <p:nvPr>
            <p:ph type="ftr" sz="quarter" idx="2"/>
          </p:nvPr>
        </p:nvSpPr>
        <p:spPr>
          <a:xfrm>
            <a:off x="0" y="9429750"/>
            <a:ext cx="2889250" cy="496888"/>
          </a:xfrm>
          <a:prstGeom prst="rect">
            <a:avLst/>
          </a:prstGeom>
        </p:spPr>
        <p:txBody>
          <a:bodyPr vert="horz" lIns="91440" tIns="45720" rIns="91440" bIns="45720" rtlCol="0" anchor="b"/>
          <a:lstStyle>
            <a:lvl1pPr algn="l" defTabSz="914377" fontAlgn="auto">
              <a:spcBef>
                <a:spcPts val="0"/>
              </a:spcBef>
              <a:spcAft>
                <a:spcPts val="0"/>
              </a:spcAft>
              <a:defRPr sz="1200">
                <a:latin typeface="+mn-lt"/>
                <a:ea typeface="+mn-ea"/>
              </a:defRPr>
            </a:lvl1pPr>
          </a:lstStyle>
          <a:p>
            <a:pPr>
              <a:defRPr/>
            </a:pPr>
            <a:endParaRPr lang="zh-CN" altLang="en-US"/>
          </a:p>
        </p:txBody>
      </p:sp>
      <p:sp>
        <p:nvSpPr>
          <p:cNvPr id="5" name="灯片编号占位符 4"/>
          <p:cNvSpPr>
            <a:spLocks noGrp="1"/>
          </p:cNvSpPr>
          <p:nvPr>
            <p:ph type="sldNum" sz="quarter" idx="3"/>
          </p:nvPr>
        </p:nvSpPr>
        <p:spPr>
          <a:xfrm>
            <a:off x="3778250" y="9429750"/>
            <a:ext cx="2889250" cy="496888"/>
          </a:xfrm>
          <a:prstGeom prst="rect">
            <a:avLst/>
          </a:prstGeom>
        </p:spPr>
        <p:txBody>
          <a:bodyPr vert="horz" lIns="91440" tIns="45720" rIns="91440" bIns="45720" rtlCol="0" anchor="b"/>
          <a:lstStyle>
            <a:lvl1pPr algn="r" defTabSz="914377" fontAlgn="auto">
              <a:spcBef>
                <a:spcPts val="0"/>
              </a:spcBef>
              <a:spcAft>
                <a:spcPts val="0"/>
              </a:spcAft>
              <a:defRPr sz="1200" smtClean="0">
                <a:latin typeface="+mn-lt"/>
                <a:ea typeface="+mn-ea"/>
              </a:defRPr>
            </a:lvl1pPr>
          </a:lstStyle>
          <a:p>
            <a:pPr>
              <a:defRPr/>
            </a:pPr>
            <a:fld id="{14011ECF-BD7A-4F9B-A30F-89A86459B83F}"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889250" cy="498475"/>
          </a:xfrm>
          <a:prstGeom prst="rect">
            <a:avLst/>
          </a:prstGeom>
        </p:spPr>
        <p:txBody>
          <a:bodyPr vert="horz" lIns="91440" tIns="45720" rIns="91440" bIns="45720" rtlCol="0"/>
          <a:lstStyle>
            <a:lvl1pPr algn="l" defTabSz="914377" fontAlgn="auto">
              <a:spcBef>
                <a:spcPts val="0"/>
              </a:spcBef>
              <a:spcAft>
                <a:spcPts val="0"/>
              </a:spcAft>
              <a:defRPr sz="1200">
                <a:latin typeface="+mn-lt"/>
                <a:ea typeface="+mn-ea"/>
              </a:defRPr>
            </a:lvl1pPr>
          </a:lstStyle>
          <a:p>
            <a:pPr>
              <a:defRPr/>
            </a:pPr>
            <a:endParaRPr lang="zh-CN" altLang="en-US"/>
          </a:p>
        </p:txBody>
      </p:sp>
      <p:sp>
        <p:nvSpPr>
          <p:cNvPr id="3" name="日期占位符 2"/>
          <p:cNvSpPr>
            <a:spLocks noGrp="1"/>
          </p:cNvSpPr>
          <p:nvPr>
            <p:ph type="dt" idx="1"/>
          </p:nvPr>
        </p:nvSpPr>
        <p:spPr>
          <a:xfrm>
            <a:off x="3778250" y="0"/>
            <a:ext cx="2889250" cy="498475"/>
          </a:xfrm>
          <a:prstGeom prst="rect">
            <a:avLst/>
          </a:prstGeom>
        </p:spPr>
        <p:txBody>
          <a:bodyPr vert="horz" lIns="91440" tIns="45720" rIns="91440" bIns="45720" rtlCol="0"/>
          <a:lstStyle>
            <a:lvl1pPr algn="r" defTabSz="914377" fontAlgn="auto">
              <a:spcBef>
                <a:spcPts val="0"/>
              </a:spcBef>
              <a:spcAft>
                <a:spcPts val="0"/>
              </a:spcAft>
              <a:defRPr sz="1200" smtClean="0">
                <a:latin typeface="+mn-lt"/>
                <a:ea typeface="+mn-ea"/>
              </a:defRPr>
            </a:lvl1pPr>
          </a:lstStyle>
          <a:p>
            <a:pPr>
              <a:defRPr/>
            </a:pPr>
            <a:fld id="{C676F31E-49FB-4549-9E5F-8F723AF32574}" type="datetimeFigureOut">
              <a:rPr lang="zh-CN" altLang="en-US"/>
              <a:pPr>
                <a:defRPr/>
              </a:pPr>
              <a:t>2017/8/24</a:t>
            </a:fld>
            <a:endParaRPr lang="zh-CN" altLang="en-US"/>
          </a:p>
        </p:txBody>
      </p:sp>
      <p:sp>
        <p:nvSpPr>
          <p:cNvPr id="4" name="幻灯片图像占位符 3"/>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66750" y="4778375"/>
            <a:ext cx="5335588" cy="3908425"/>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9429750"/>
            <a:ext cx="2889250" cy="498475"/>
          </a:xfrm>
          <a:prstGeom prst="rect">
            <a:avLst/>
          </a:prstGeom>
        </p:spPr>
        <p:txBody>
          <a:bodyPr vert="horz" lIns="91440" tIns="45720" rIns="91440" bIns="45720" rtlCol="0" anchor="b"/>
          <a:lstStyle>
            <a:lvl1pPr algn="l" defTabSz="914377" fontAlgn="auto">
              <a:spcBef>
                <a:spcPts val="0"/>
              </a:spcBef>
              <a:spcAft>
                <a:spcPts val="0"/>
              </a:spcAft>
              <a:defRPr sz="1200">
                <a:latin typeface="+mn-lt"/>
                <a:ea typeface="+mn-ea"/>
              </a:defRPr>
            </a:lvl1pPr>
          </a:lstStyle>
          <a:p>
            <a:pPr>
              <a:defRPr/>
            </a:pPr>
            <a:endParaRPr lang="zh-CN" altLang="en-US"/>
          </a:p>
        </p:txBody>
      </p:sp>
      <p:sp>
        <p:nvSpPr>
          <p:cNvPr id="7" name="灯片编号占位符 6"/>
          <p:cNvSpPr>
            <a:spLocks noGrp="1"/>
          </p:cNvSpPr>
          <p:nvPr>
            <p:ph type="sldNum" sz="quarter" idx="5"/>
          </p:nvPr>
        </p:nvSpPr>
        <p:spPr>
          <a:xfrm>
            <a:off x="3778250" y="9429750"/>
            <a:ext cx="2889250" cy="498475"/>
          </a:xfrm>
          <a:prstGeom prst="rect">
            <a:avLst/>
          </a:prstGeom>
        </p:spPr>
        <p:txBody>
          <a:bodyPr vert="horz" lIns="91440" tIns="45720" rIns="91440" bIns="45720" rtlCol="0" anchor="b"/>
          <a:lstStyle>
            <a:lvl1pPr algn="r" defTabSz="914377" fontAlgn="auto">
              <a:spcBef>
                <a:spcPts val="0"/>
              </a:spcBef>
              <a:spcAft>
                <a:spcPts val="0"/>
              </a:spcAft>
              <a:defRPr sz="1200" smtClean="0">
                <a:latin typeface="+mn-lt"/>
                <a:ea typeface="+mn-ea"/>
              </a:defRPr>
            </a:lvl1pPr>
          </a:lstStyle>
          <a:p>
            <a:pPr>
              <a:defRPr/>
            </a:pPr>
            <a:fld id="{64A894BB-AC77-4E2A-802D-036D67DFC1EB}"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幻灯片图像占位符 1"/>
          <p:cNvSpPr>
            <a:spLocks noGrp="1" noRot="1" noChangeAspect="1"/>
          </p:cNvSpPr>
          <p:nvPr>
            <p:ph type="sldImg"/>
          </p:nvPr>
        </p:nvSpPr>
        <p:spPr bwMode="auto">
          <a:noFill/>
          <a:ln>
            <a:solidFill>
              <a:srgbClr val="000000"/>
            </a:solidFill>
            <a:miter lim="800000"/>
            <a:headEnd/>
            <a:tailEnd/>
          </a:ln>
        </p:spPr>
      </p:sp>
      <p:sp>
        <p:nvSpPr>
          <p:cNvPr id="45058"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45059"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CA4192CB-E7E2-465A-AC52-CAA9A59D1A1C}" type="slidenum">
              <a:rPr lang="zh-CN" altLang="en-US"/>
              <a:pPr defTabSz="912813" fontAlgn="base">
                <a:spcBef>
                  <a:spcPct val="0"/>
                </a:spcBef>
                <a:spcAft>
                  <a:spcPct val="0"/>
                </a:spcAft>
              </a:pPr>
              <a:t>10</a:t>
            </a:fld>
            <a:endParaRPr lang="en-US" altLang="zh-C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幻灯片图像占位符 1"/>
          <p:cNvSpPr>
            <a:spLocks noGrp="1" noRot="1" noChangeAspect="1"/>
          </p:cNvSpPr>
          <p:nvPr>
            <p:ph type="sldImg"/>
          </p:nvPr>
        </p:nvSpPr>
        <p:spPr bwMode="auto">
          <a:noFill/>
          <a:ln>
            <a:solidFill>
              <a:srgbClr val="000000"/>
            </a:solidFill>
            <a:miter lim="800000"/>
            <a:headEnd/>
            <a:tailEnd/>
          </a:ln>
        </p:spPr>
      </p:sp>
      <p:sp>
        <p:nvSpPr>
          <p:cNvPr id="77826"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77827"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5B102CD6-4CD3-45AC-9AFF-25291F3FE576}" type="slidenum">
              <a:rPr lang="zh-CN" altLang="en-US"/>
              <a:pPr defTabSz="912813" fontAlgn="base">
                <a:spcBef>
                  <a:spcPct val="0"/>
                </a:spcBef>
                <a:spcAft>
                  <a:spcPct val="0"/>
                </a:spcAft>
              </a:pPr>
              <a:t>32</a:t>
            </a:fld>
            <a:endParaRPr lang="en-US" altLang="zh-C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幻灯片图像占位符 1"/>
          <p:cNvSpPr>
            <a:spLocks noGrp="1" noRot="1" noChangeAspect="1"/>
          </p:cNvSpPr>
          <p:nvPr>
            <p:ph type="sldImg"/>
          </p:nvPr>
        </p:nvSpPr>
        <p:spPr bwMode="auto">
          <a:noFill/>
          <a:ln>
            <a:solidFill>
              <a:srgbClr val="000000"/>
            </a:solidFill>
            <a:miter lim="800000"/>
            <a:headEnd/>
            <a:tailEnd/>
          </a:ln>
        </p:spPr>
      </p:sp>
      <p:sp>
        <p:nvSpPr>
          <p:cNvPr id="81922"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zh-CN" altLang="en-US" smtClean="0"/>
          </a:p>
        </p:txBody>
      </p:sp>
      <p:sp>
        <p:nvSpPr>
          <p:cNvPr id="81923"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2D68CA39-96DF-464D-BE51-6CE965878BB7}" type="slidenum">
              <a:rPr lang="en-US" altLang="zh-CN">
                <a:solidFill>
                  <a:srgbClr val="000000"/>
                </a:solidFill>
              </a:rPr>
              <a:pPr defTabSz="912813" fontAlgn="base">
                <a:spcBef>
                  <a:spcPct val="0"/>
                </a:spcBef>
                <a:spcAft>
                  <a:spcPct val="0"/>
                </a:spcAft>
              </a:pPr>
              <a:t>35</a:t>
            </a:fld>
            <a:endParaRPr lang="en-US" altLang="zh-CN">
              <a:solidFill>
                <a:srgbClr val="000000"/>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幻灯片图像占位符 1"/>
          <p:cNvSpPr>
            <a:spLocks noGrp="1" noRot="1" noChangeAspect="1"/>
          </p:cNvSpPr>
          <p:nvPr>
            <p:ph type="sldImg"/>
          </p:nvPr>
        </p:nvSpPr>
        <p:spPr bwMode="auto">
          <a:noFill/>
          <a:ln>
            <a:solidFill>
              <a:srgbClr val="000000"/>
            </a:solidFill>
            <a:miter lim="800000"/>
            <a:headEnd/>
            <a:tailEnd/>
          </a:ln>
        </p:spPr>
      </p:sp>
      <p:sp>
        <p:nvSpPr>
          <p:cNvPr id="84994"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84995"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53092088-F10A-4DC8-80E5-AA9342CE9B02}" type="slidenum">
              <a:rPr lang="zh-CN" altLang="en-US"/>
              <a:pPr defTabSz="912813" fontAlgn="base">
                <a:spcBef>
                  <a:spcPct val="0"/>
                </a:spcBef>
                <a:spcAft>
                  <a:spcPct val="0"/>
                </a:spcAft>
              </a:pPr>
              <a:t>37</a:t>
            </a:fld>
            <a:endParaRPr lang="en-US" altLang="zh-C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幻灯片图像占位符 1"/>
          <p:cNvSpPr>
            <a:spLocks noGrp="1" noRot="1" noChangeAspect="1"/>
          </p:cNvSpPr>
          <p:nvPr>
            <p:ph type="sldImg"/>
          </p:nvPr>
        </p:nvSpPr>
        <p:spPr bwMode="auto">
          <a:noFill/>
          <a:ln>
            <a:solidFill>
              <a:srgbClr val="000000"/>
            </a:solidFill>
            <a:miter lim="800000"/>
            <a:headEnd/>
            <a:tailEnd/>
          </a:ln>
        </p:spPr>
      </p:sp>
      <p:sp>
        <p:nvSpPr>
          <p:cNvPr id="87042"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87043"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47C4CF45-C243-4DD0-9D06-810C4A6DD63D}" type="slidenum">
              <a:rPr lang="zh-CN" altLang="en-US"/>
              <a:pPr defTabSz="912813" fontAlgn="base">
                <a:spcBef>
                  <a:spcPct val="0"/>
                </a:spcBef>
                <a:spcAft>
                  <a:spcPct val="0"/>
                </a:spcAft>
              </a:pPr>
              <a:t>38</a:t>
            </a:fld>
            <a:endParaRPr lang="en-US" altLang="zh-CN"/>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幻灯片图像占位符 1"/>
          <p:cNvSpPr>
            <a:spLocks noGrp="1" noRot="1" noChangeAspect="1"/>
          </p:cNvSpPr>
          <p:nvPr>
            <p:ph type="sldImg"/>
          </p:nvPr>
        </p:nvSpPr>
        <p:spPr bwMode="auto">
          <a:noFill/>
          <a:ln>
            <a:solidFill>
              <a:srgbClr val="000000"/>
            </a:solidFill>
            <a:miter lim="800000"/>
            <a:headEnd/>
            <a:tailEnd/>
          </a:ln>
        </p:spPr>
      </p:sp>
      <p:sp>
        <p:nvSpPr>
          <p:cNvPr id="90114"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90115"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C91C74F0-67BA-4DB0-9DB3-B84EF48F3ED6}" type="slidenum">
              <a:rPr lang="zh-CN" altLang="en-US"/>
              <a:pPr defTabSz="912813" fontAlgn="base">
                <a:spcBef>
                  <a:spcPct val="0"/>
                </a:spcBef>
                <a:spcAft>
                  <a:spcPct val="0"/>
                </a:spcAft>
              </a:pPr>
              <a:t>40</a:t>
            </a:fld>
            <a:endParaRPr lang="en-US" altLang="zh-CN"/>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幻灯片图像占位符 1"/>
          <p:cNvSpPr>
            <a:spLocks noGrp="1" noRot="1" noChangeAspect="1"/>
          </p:cNvSpPr>
          <p:nvPr>
            <p:ph type="sldImg"/>
          </p:nvPr>
        </p:nvSpPr>
        <p:spPr bwMode="auto">
          <a:noFill/>
          <a:ln>
            <a:solidFill>
              <a:srgbClr val="000000"/>
            </a:solidFill>
            <a:miter lim="800000"/>
            <a:headEnd/>
            <a:tailEnd/>
          </a:ln>
        </p:spPr>
      </p:sp>
      <p:sp>
        <p:nvSpPr>
          <p:cNvPr id="92162"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92163"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ED8242E4-9C30-4411-B598-C1E891FDC026}" type="slidenum">
              <a:rPr lang="zh-CN" altLang="en-US"/>
              <a:pPr defTabSz="912813" fontAlgn="base">
                <a:spcBef>
                  <a:spcPct val="0"/>
                </a:spcBef>
                <a:spcAft>
                  <a:spcPct val="0"/>
                </a:spcAft>
              </a:pPr>
              <a:t>41</a:t>
            </a:fld>
            <a:endParaRPr lang="en-US" altLang="zh-CN"/>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幻灯片图像占位符 1"/>
          <p:cNvSpPr>
            <a:spLocks noGrp="1" noRot="1" noChangeAspect="1"/>
          </p:cNvSpPr>
          <p:nvPr>
            <p:ph type="sldImg"/>
          </p:nvPr>
        </p:nvSpPr>
        <p:spPr bwMode="auto">
          <a:noFill/>
          <a:ln>
            <a:solidFill>
              <a:srgbClr val="000000"/>
            </a:solidFill>
            <a:miter lim="800000"/>
            <a:headEnd/>
            <a:tailEnd/>
          </a:ln>
        </p:spPr>
      </p:sp>
      <p:sp>
        <p:nvSpPr>
          <p:cNvPr id="94210"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94211"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8B0BFF45-C29F-49B5-9849-27E820DE6EC2}" type="slidenum">
              <a:rPr lang="zh-CN" altLang="en-US"/>
              <a:pPr defTabSz="912813" fontAlgn="base">
                <a:spcBef>
                  <a:spcPct val="0"/>
                </a:spcBef>
                <a:spcAft>
                  <a:spcPct val="0"/>
                </a:spcAft>
              </a:pPr>
              <a:t>42</a:t>
            </a:fld>
            <a:endParaRPr lang="en-US" altLang="zh-CN"/>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幻灯片图像占位符 1"/>
          <p:cNvSpPr>
            <a:spLocks noGrp="1" noRot="1" noChangeAspect="1"/>
          </p:cNvSpPr>
          <p:nvPr>
            <p:ph type="sldImg"/>
          </p:nvPr>
        </p:nvSpPr>
        <p:spPr bwMode="auto">
          <a:noFill/>
          <a:ln>
            <a:solidFill>
              <a:srgbClr val="000000"/>
            </a:solidFill>
            <a:miter lim="800000"/>
            <a:headEnd/>
            <a:tailEnd/>
          </a:ln>
        </p:spPr>
      </p:sp>
      <p:sp>
        <p:nvSpPr>
          <p:cNvPr id="96258"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96259"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AD18C93C-D4C2-41A5-B4C2-E714FF25A660}" type="slidenum">
              <a:rPr lang="zh-CN" altLang="en-US"/>
              <a:pPr defTabSz="912813" fontAlgn="base">
                <a:spcBef>
                  <a:spcPct val="0"/>
                </a:spcBef>
                <a:spcAft>
                  <a:spcPct val="0"/>
                </a:spcAft>
              </a:pPr>
              <a:t>43</a:t>
            </a:fld>
            <a:endParaRPr lang="en-US" altLang="zh-CN"/>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幻灯片图像占位符 1"/>
          <p:cNvSpPr>
            <a:spLocks noGrp="1" noRot="1" noChangeAspect="1"/>
          </p:cNvSpPr>
          <p:nvPr>
            <p:ph type="sldImg"/>
          </p:nvPr>
        </p:nvSpPr>
        <p:spPr bwMode="auto">
          <a:noFill/>
          <a:ln>
            <a:solidFill>
              <a:srgbClr val="000000"/>
            </a:solidFill>
            <a:miter lim="800000"/>
            <a:headEnd/>
            <a:tailEnd/>
          </a:ln>
        </p:spPr>
      </p:sp>
      <p:sp>
        <p:nvSpPr>
          <p:cNvPr id="98306"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98307"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ECF08A0E-8907-4F16-BE25-A7CE101E4E8C}" type="slidenum">
              <a:rPr lang="zh-CN" altLang="en-US"/>
              <a:pPr defTabSz="912813" fontAlgn="base">
                <a:spcBef>
                  <a:spcPct val="0"/>
                </a:spcBef>
                <a:spcAft>
                  <a:spcPct val="0"/>
                </a:spcAft>
              </a:pPr>
              <a:t>44</a:t>
            </a:fld>
            <a:endParaRPr lang="en-US" altLang="zh-CN"/>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幻灯片图像占位符 1"/>
          <p:cNvSpPr>
            <a:spLocks noGrp="1" noRot="1" noChangeAspect="1"/>
          </p:cNvSpPr>
          <p:nvPr>
            <p:ph type="sldImg"/>
          </p:nvPr>
        </p:nvSpPr>
        <p:spPr bwMode="auto">
          <a:noFill/>
          <a:ln>
            <a:solidFill>
              <a:srgbClr val="000000"/>
            </a:solidFill>
            <a:miter lim="800000"/>
            <a:headEnd/>
            <a:tailEnd/>
          </a:ln>
        </p:spPr>
      </p:sp>
      <p:sp>
        <p:nvSpPr>
          <p:cNvPr id="100354" name="备注占位符 2"/>
          <p:cNvSpPr>
            <a:spLocks noGrp="1"/>
          </p:cNvSpPr>
          <p:nvPr>
            <p:ph type="body" idx="1"/>
          </p:nvPr>
        </p:nvSpPr>
        <p:spPr bwMode="auto">
          <a:noFill/>
        </p:spPr>
        <p:txBody>
          <a:bodyPr wrap="square" numCol="1" anchor="t" anchorCtr="0" compatLnSpc="1">
            <a:prstTxWarp prst="textNoShape">
              <a:avLst/>
            </a:prstTxWarp>
          </a:bodyPr>
          <a:lstStyle/>
          <a:p>
            <a:pPr>
              <a:lnSpc>
                <a:spcPct val="150000"/>
              </a:lnSpc>
              <a:spcBef>
                <a:spcPct val="0"/>
              </a:spcBef>
            </a:pPr>
            <a:endParaRPr lang="zh-CN" altLang="zh-CN" smtClean="0"/>
          </a:p>
        </p:txBody>
      </p:sp>
      <p:sp>
        <p:nvSpPr>
          <p:cNvPr id="100355"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9D3F11AF-204D-4844-8696-EF6D5EF1252C}" type="slidenum">
              <a:rPr lang="zh-CN" altLang="en-US"/>
              <a:pPr defTabSz="912813" fontAlgn="base">
                <a:spcBef>
                  <a:spcPct val="0"/>
                </a:spcBef>
                <a:spcAft>
                  <a:spcPct val="0"/>
                </a:spcAft>
              </a:pPr>
              <a:t>45</a:t>
            </a:fld>
            <a:endParaRPr lang="en-US" altLang="zh-C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幻灯片图像占位符 1"/>
          <p:cNvSpPr>
            <a:spLocks noGrp="1" noRot="1" noChangeAspect="1"/>
          </p:cNvSpPr>
          <p:nvPr>
            <p:ph type="sldImg"/>
          </p:nvPr>
        </p:nvSpPr>
        <p:spPr bwMode="auto">
          <a:noFill/>
          <a:ln>
            <a:solidFill>
              <a:srgbClr val="000000"/>
            </a:solidFill>
            <a:miter lim="800000"/>
            <a:headEnd/>
            <a:tailEnd/>
          </a:ln>
        </p:spPr>
      </p:sp>
      <p:sp>
        <p:nvSpPr>
          <p:cNvPr id="47106"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kumimoji="1" lang="zh-CN" altLang="en-US" smtClean="0"/>
              <a:t>神州租车</a:t>
            </a:r>
          </a:p>
        </p:txBody>
      </p:sp>
      <p:sp>
        <p:nvSpPr>
          <p:cNvPr id="47107"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8EABA56A-8069-45F9-9810-8DC677D42CF2}" type="slidenum">
              <a:rPr lang="zh-CN" altLang="en-US"/>
              <a:pPr defTabSz="912813" fontAlgn="base">
                <a:spcBef>
                  <a:spcPct val="0"/>
                </a:spcBef>
                <a:spcAft>
                  <a:spcPct val="0"/>
                </a:spcAft>
              </a:pPr>
              <a:t>11</a:t>
            </a:fld>
            <a:endParaRPr lang="en-US" altLang="zh-C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幻灯片图像占位符 1"/>
          <p:cNvSpPr>
            <a:spLocks noGrp="1" noRot="1" noChangeAspect="1"/>
          </p:cNvSpPr>
          <p:nvPr>
            <p:ph type="sldImg"/>
          </p:nvPr>
        </p:nvSpPr>
        <p:spPr bwMode="auto">
          <a:noFill/>
          <a:ln>
            <a:solidFill>
              <a:srgbClr val="000000"/>
            </a:solidFill>
            <a:miter lim="800000"/>
            <a:headEnd/>
            <a:tailEnd/>
          </a:ln>
        </p:spPr>
      </p:sp>
      <p:sp>
        <p:nvSpPr>
          <p:cNvPr id="102402"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zh-CN" altLang="zh-CN" smtClean="0"/>
          </a:p>
        </p:txBody>
      </p:sp>
      <p:sp>
        <p:nvSpPr>
          <p:cNvPr id="102403"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9C6E5F72-3777-472C-9923-4A59EE1E3068}" type="slidenum">
              <a:rPr lang="zh-CN" altLang="en-US"/>
              <a:pPr defTabSz="912813" fontAlgn="base">
                <a:spcBef>
                  <a:spcPct val="0"/>
                </a:spcBef>
                <a:spcAft>
                  <a:spcPct val="0"/>
                </a:spcAft>
              </a:pPr>
              <a:t>46</a:t>
            </a:fld>
            <a:endParaRPr lang="en-US" altLang="zh-CN"/>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幻灯片图像占位符 1"/>
          <p:cNvSpPr>
            <a:spLocks noGrp="1" noRot="1" noChangeAspect="1"/>
          </p:cNvSpPr>
          <p:nvPr>
            <p:ph type="sldImg"/>
          </p:nvPr>
        </p:nvSpPr>
        <p:spPr bwMode="auto">
          <a:noFill/>
          <a:ln>
            <a:solidFill>
              <a:srgbClr val="000000"/>
            </a:solidFill>
            <a:miter lim="800000"/>
            <a:headEnd/>
            <a:tailEnd/>
          </a:ln>
        </p:spPr>
      </p:sp>
      <p:sp>
        <p:nvSpPr>
          <p:cNvPr id="104450"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104451"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52EF10D3-FA46-4BBF-ACAE-D3BD47CEE07E}" type="slidenum">
              <a:rPr lang="zh-CN" altLang="en-US"/>
              <a:pPr defTabSz="912813" fontAlgn="base">
                <a:spcBef>
                  <a:spcPct val="0"/>
                </a:spcBef>
                <a:spcAft>
                  <a:spcPct val="0"/>
                </a:spcAft>
              </a:pPr>
              <a:t>47</a:t>
            </a:fld>
            <a:endParaRPr lang="en-US" altLang="zh-CN"/>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幻灯片图像占位符 1"/>
          <p:cNvSpPr>
            <a:spLocks noGrp="1" noRot="1" noChangeAspect="1"/>
          </p:cNvSpPr>
          <p:nvPr>
            <p:ph type="sldImg"/>
          </p:nvPr>
        </p:nvSpPr>
        <p:spPr bwMode="auto">
          <a:noFill/>
          <a:ln>
            <a:solidFill>
              <a:srgbClr val="000000"/>
            </a:solidFill>
            <a:miter lim="800000"/>
            <a:headEnd/>
            <a:tailEnd/>
          </a:ln>
        </p:spPr>
      </p:sp>
      <p:sp>
        <p:nvSpPr>
          <p:cNvPr id="106498"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106499"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268AF725-6CB2-4CB6-A323-2FE3789D44F0}" type="slidenum">
              <a:rPr lang="zh-CN" altLang="en-US"/>
              <a:pPr defTabSz="912813" fontAlgn="base">
                <a:spcBef>
                  <a:spcPct val="0"/>
                </a:spcBef>
                <a:spcAft>
                  <a:spcPct val="0"/>
                </a:spcAft>
              </a:pPr>
              <a:t>48</a:t>
            </a:fld>
            <a:endParaRPr lang="en-US" altLang="zh-CN"/>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幻灯片图像占位符 1"/>
          <p:cNvSpPr>
            <a:spLocks noGrp="1" noRot="1" noChangeAspect="1"/>
          </p:cNvSpPr>
          <p:nvPr>
            <p:ph type="sldImg"/>
          </p:nvPr>
        </p:nvSpPr>
        <p:spPr bwMode="auto">
          <a:noFill/>
          <a:ln>
            <a:solidFill>
              <a:srgbClr val="000000"/>
            </a:solidFill>
            <a:miter lim="800000"/>
            <a:headEnd/>
            <a:tailEnd/>
          </a:ln>
        </p:spPr>
      </p:sp>
      <p:sp>
        <p:nvSpPr>
          <p:cNvPr id="3" name="备注占位符 2"/>
          <p:cNvSpPr>
            <a:spLocks noGrp="1"/>
          </p:cNvSpPr>
          <p:nvPr>
            <p:ph type="body" idx="1"/>
          </p:nvPr>
        </p:nvSpPr>
        <p:spPr/>
        <p:txBody>
          <a:bodyPr wrap="square" numCol="1" anchor="t" anchorCtr="0" compatLnSpc="1">
            <a:prstTxWarp prst="textNoShape">
              <a:avLst/>
            </a:prstTxWarp>
          </a:bodyPr>
          <a:lstStyle/>
          <a:p>
            <a:pPr marL="285750" indent="-285750">
              <a:lnSpc>
                <a:spcPct val="150000"/>
              </a:lnSpc>
              <a:spcBef>
                <a:spcPct val="0"/>
              </a:spcBef>
              <a:buFontTx/>
              <a:buChar char="•"/>
            </a:pPr>
            <a:endParaRPr lang="zh-CN" altLang="en-US" smtClean="0">
              <a:latin typeface="黑体" pitchFamily="49" charset="-122"/>
              <a:ea typeface="黑体" pitchFamily="49" charset="-122"/>
            </a:endParaRPr>
          </a:p>
          <a:p>
            <a:pPr marL="285750" indent="-285750">
              <a:spcBef>
                <a:spcPct val="0"/>
              </a:spcBef>
            </a:pPr>
            <a:endParaRPr kumimoji="1" lang="zh-CN" altLang="en-US" smtClean="0"/>
          </a:p>
        </p:txBody>
      </p:sp>
      <p:sp>
        <p:nvSpPr>
          <p:cNvPr id="108547"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F39952D8-A466-42D7-8E8C-AD509B024A73}" type="slidenum">
              <a:rPr lang="zh-CN" altLang="en-US"/>
              <a:pPr defTabSz="912813" fontAlgn="base">
                <a:spcBef>
                  <a:spcPct val="0"/>
                </a:spcBef>
                <a:spcAft>
                  <a:spcPct val="0"/>
                </a:spcAft>
              </a:pPr>
              <a:t>49</a:t>
            </a:fld>
            <a:endParaRPr lang="en-US" altLang="zh-CN"/>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幻灯片图像占位符 1"/>
          <p:cNvSpPr>
            <a:spLocks noGrp="1" noRot="1" noChangeAspect="1"/>
          </p:cNvSpPr>
          <p:nvPr>
            <p:ph type="sldImg"/>
          </p:nvPr>
        </p:nvSpPr>
        <p:spPr bwMode="auto">
          <a:noFill/>
          <a:ln>
            <a:solidFill>
              <a:srgbClr val="000000"/>
            </a:solidFill>
            <a:miter lim="800000"/>
            <a:headEnd/>
            <a:tailEnd/>
          </a:ln>
        </p:spPr>
      </p:sp>
      <p:sp>
        <p:nvSpPr>
          <p:cNvPr id="110594"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110595"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2C9BDB5B-5FED-417C-8C0E-DE4FA1DBA217}" type="slidenum">
              <a:rPr lang="zh-CN" altLang="en-US"/>
              <a:pPr defTabSz="912813" fontAlgn="base">
                <a:spcBef>
                  <a:spcPct val="0"/>
                </a:spcBef>
                <a:spcAft>
                  <a:spcPct val="0"/>
                </a:spcAft>
              </a:pPr>
              <a:t>50</a:t>
            </a:fld>
            <a:endParaRPr lang="en-US" altLang="zh-CN"/>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幻灯片图像占位符 1"/>
          <p:cNvSpPr>
            <a:spLocks noGrp="1" noRot="1" noChangeAspect="1"/>
          </p:cNvSpPr>
          <p:nvPr>
            <p:ph type="sldImg"/>
          </p:nvPr>
        </p:nvSpPr>
        <p:spPr bwMode="auto">
          <a:noFill/>
          <a:ln>
            <a:solidFill>
              <a:srgbClr val="000000"/>
            </a:solidFill>
            <a:miter lim="800000"/>
            <a:headEnd/>
            <a:tailEnd/>
          </a:ln>
        </p:spPr>
      </p:sp>
      <p:sp>
        <p:nvSpPr>
          <p:cNvPr id="112642" name="备注占位符 2"/>
          <p:cNvSpPr>
            <a:spLocks noGrp="1"/>
          </p:cNvSpPr>
          <p:nvPr>
            <p:ph type="body" idx="1"/>
          </p:nvPr>
        </p:nvSpPr>
        <p:spPr bwMode="auto">
          <a:noFill/>
        </p:spPr>
        <p:txBody>
          <a:bodyPr wrap="square" numCol="1" anchor="t" anchorCtr="0" compatLnSpc="1">
            <a:prstTxWarp prst="textNoShape">
              <a:avLst/>
            </a:prstTxWarp>
          </a:bodyPr>
          <a:lstStyle/>
          <a:p>
            <a:pPr marL="285750" indent="-285750" defTabSz="914400">
              <a:lnSpc>
                <a:spcPct val="150000"/>
              </a:lnSpc>
              <a:spcBef>
                <a:spcPct val="0"/>
              </a:spcBef>
            </a:pPr>
            <a:endParaRPr kumimoji="1" lang="zh-CN" altLang="en-US" smtClean="0"/>
          </a:p>
        </p:txBody>
      </p:sp>
      <p:sp>
        <p:nvSpPr>
          <p:cNvPr id="112643"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D58E621C-4257-4B1B-90B4-54F176293B28}" type="slidenum">
              <a:rPr lang="zh-CN" altLang="en-US"/>
              <a:pPr defTabSz="912813" fontAlgn="base">
                <a:spcBef>
                  <a:spcPct val="0"/>
                </a:spcBef>
                <a:spcAft>
                  <a:spcPct val="0"/>
                </a:spcAft>
              </a:pPr>
              <a:t>51</a:t>
            </a:fld>
            <a:endParaRPr lang="en-US" altLang="zh-CN"/>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89" name="幻灯片图像占位符 1"/>
          <p:cNvSpPr>
            <a:spLocks noGrp="1" noRot="1" noChangeAspect="1"/>
          </p:cNvSpPr>
          <p:nvPr>
            <p:ph type="sldImg"/>
          </p:nvPr>
        </p:nvSpPr>
        <p:spPr bwMode="auto">
          <a:noFill/>
          <a:ln>
            <a:solidFill>
              <a:srgbClr val="000000"/>
            </a:solidFill>
            <a:miter lim="800000"/>
            <a:headEnd/>
            <a:tailEnd/>
          </a:ln>
        </p:spPr>
      </p:sp>
      <p:sp>
        <p:nvSpPr>
          <p:cNvPr id="114690"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kumimoji="1" lang="zh-CN" altLang="en-US" smtClean="0"/>
              <a:t>清朝王泽邦</a:t>
            </a:r>
          </a:p>
        </p:txBody>
      </p:sp>
      <p:sp>
        <p:nvSpPr>
          <p:cNvPr id="114691"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6C1CD180-E472-4854-B074-46B0FCE18C73}" type="slidenum">
              <a:rPr lang="zh-CN" altLang="en-US"/>
              <a:pPr defTabSz="912813" fontAlgn="base">
                <a:spcBef>
                  <a:spcPct val="0"/>
                </a:spcBef>
                <a:spcAft>
                  <a:spcPct val="0"/>
                </a:spcAft>
              </a:pPr>
              <a:t>52</a:t>
            </a:fld>
            <a:endParaRPr lang="en-US" altLang="zh-CN"/>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幻灯片图像占位符 1"/>
          <p:cNvSpPr>
            <a:spLocks noGrp="1" noRot="1" noChangeAspect="1"/>
          </p:cNvSpPr>
          <p:nvPr>
            <p:ph type="sldImg"/>
          </p:nvPr>
        </p:nvSpPr>
        <p:spPr bwMode="auto">
          <a:noFill/>
          <a:ln>
            <a:solidFill>
              <a:srgbClr val="000000"/>
            </a:solidFill>
            <a:miter lim="800000"/>
            <a:headEnd/>
            <a:tailEnd/>
          </a:ln>
        </p:spPr>
      </p:sp>
      <p:sp>
        <p:nvSpPr>
          <p:cNvPr id="116738" name="备注占位符 2"/>
          <p:cNvSpPr>
            <a:spLocks noGrp="1"/>
          </p:cNvSpPr>
          <p:nvPr>
            <p:ph type="body" idx="1"/>
          </p:nvPr>
        </p:nvSpPr>
        <p:spPr bwMode="auto">
          <a:noFill/>
        </p:spPr>
        <p:txBody>
          <a:bodyPr wrap="square" numCol="1" anchor="t" anchorCtr="0" compatLnSpc="1">
            <a:prstTxWarp prst="textNoShape">
              <a:avLst/>
            </a:prstTxWarp>
          </a:bodyPr>
          <a:lstStyle/>
          <a:p>
            <a:pPr defTabSz="914400">
              <a:spcBef>
                <a:spcPct val="0"/>
              </a:spcBef>
            </a:pPr>
            <a:endParaRPr kumimoji="1" lang="zh-CN" altLang="en-US" smtClean="0"/>
          </a:p>
        </p:txBody>
      </p:sp>
      <p:sp>
        <p:nvSpPr>
          <p:cNvPr id="116739"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078C131C-F6E0-4FF6-9B1C-8EA7842D8B35}" type="slidenum">
              <a:rPr lang="zh-CN" altLang="en-US"/>
              <a:pPr defTabSz="912813" fontAlgn="base">
                <a:spcBef>
                  <a:spcPct val="0"/>
                </a:spcBef>
                <a:spcAft>
                  <a:spcPct val="0"/>
                </a:spcAft>
              </a:pPr>
              <a:t>53</a:t>
            </a:fld>
            <a:endParaRPr lang="en-US" altLang="zh-CN"/>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5" name="幻灯片图像占位符 1"/>
          <p:cNvSpPr>
            <a:spLocks noGrp="1" noRot="1" noChangeAspect="1"/>
          </p:cNvSpPr>
          <p:nvPr>
            <p:ph type="sldImg"/>
          </p:nvPr>
        </p:nvSpPr>
        <p:spPr bwMode="auto">
          <a:noFill/>
          <a:ln>
            <a:solidFill>
              <a:srgbClr val="000000"/>
            </a:solidFill>
            <a:miter lim="800000"/>
            <a:headEnd/>
            <a:tailEnd/>
          </a:ln>
        </p:spPr>
      </p:sp>
      <p:sp>
        <p:nvSpPr>
          <p:cNvPr id="118786"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118787"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C339465D-8BB8-440C-995D-098726B80ADC}" type="slidenum">
              <a:rPr lang="zh-CN" altLang="en-US"/>
              <a:pPr defTabSz="912813" fontAlgn="base">
                <a:spcBef>
                  <a:spcPct val="0"/>
                </a:spcBef>
                <a:spcAft>
                  <a:spcPct val="0"/>
                </a:spcAft>
              </a:pPr>
              <a:t>54</a:t>
            </a:fld>
            <a:endParaRPr lang="en-US" altLang="zh-CN"/>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7" name="幻灯片图像占位符 1"/>
          <p:cNvSpPr>
            <a:spLocks noGrp="1" noRot="1" noChangeAspect="1"/>
          </p:cNvSpPr>
          <p:nvPr>
            <p:ph type="sldImg"/>
          </p:nvPr>
        </p:nvSpPr>
        <p:spPr bwMode="auto">
          <a:noFill/>
          <a:ln>
            <a:solidFill>
              <a:srgbClr val="000000"/>
            </a:solidFill>
            <a:miter lim="800000"/>
            <a:headEnd/>
            <a:tailEnd/>
          </a:ln>
        </p:spPr>
      </p:sp>
      <p:sp>
        <p:nvSpPr>
          <p:cNvPr id="132098"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altLang="zh-CN" sz="900" smtClean="0"/>
              <a:t>2015</a:t>
            </a:r>
            <a:r>
              <a:rPr lang="zh-CN" altLang="en-US" sz="900" smtClean="0"/>
              <a:t>年，中国快消品市场销售额增速放缓至</a:t>
            </a:r>
            <a:r>
              <a:rPr lang="en-US" altLang="zh-CN" sz="900" smtClean="0"/>
              <a:t>3.5%</a:t>
            </a:r>
            <a:r>
              <a:rPr lang="zh-CN" altLang="en-US" sz="900" smtClean="0"/>
              <a:t>。中国经济的“新常态”正影响中国消费者的消费行为，在宏观经济增速放缓和消费升级驱动下，无论是品类、渠道、地域、甚至外资品牌和本土品牌的竞争中，均出现了跟以往不同的消费分化：中国快消品市场存在两种不同的快慢车道。</a:t>
            </a:r>
          </a:p>
          <a:p>
            <a:pPr>
              <a:spcBef>
                <a:spcPct val="0"/>
              </a:spcBef>
            </a:pPr>
            <a:r>
              <a:rPr lang="zh-CN" altLang="en-US" sz="900" smtClean="0"/>
              <a:t>　　管理咨询公司贝恩公司（</a:t>
            </a:r>
            <a:r>
              <a:rPr lang="en-US" altLang="zh-CN" sz="900" smtClean="0"/>
              <a:t>Bain &amp; Company</a:t>
            </a:r>
            <a:r>
              <a:rPr lang="zh-CN" altLang="en-US" sz="900" smtClean="0"/>
              <a:t>）与消费者研究机构凯度消费者指数（</a:t>
            </a:r>
            <a:r>
              <a:rPr lang="en-US" altLang="zh-CN" sz="900" smtClean="0"/>
              <a:t>Kantar </a:t>
            </a:r>
            <a:r>
              <a:rPr lang="en-US" altLang="zh-CN" smtClean="0"/>
              <a:t>Worldpanel</a:t>
            </a:r>
            <a:r>
              <a:rPr lang="zh-CN" altLang="en-US" smtClean="0"/>
              <a:t>）在其持续第五年的</a:t>
            </a:r>
            <a:r>
              <a:rPr lang="en-US" altLang="zh-CN" smtClean="0"/>
              <a:t>《</a:t>
            </a:r>
            <a:r>
              <a:rPr lang="zh-CN" altLang="en-US" smtClean="0"/>
              <a:t>中国购物者报告</a:t>
            </a:r>
            <a:r>
              <a:rPr lang="en-US" altLang="zh-CN" smtClean="0"/>
              <a:t>》</a:t>
            </a:r>
            <a:r>
              <a:rPr lang="zh-CN" altLang="en-US" smtClean="0"/>
              <a:t>中指出了这种分化，并将之总结为“双速前行”。</a:t>
            </a:r>
          </a:p>
          <a:p>
            <a:pPr>
              <a:spcBef>
                <a:spcPct val="0"/>
              </a:spcBef>
            </a:pPr>
            <a:endParaRPr lang="zh-CN" altLang="en-US" smtClean="0"/>
          </a:p>
        </p:txBody>
      </p:sp>
      <p:sp>
        <p:nvSpPr>
          <p:cNvPr id="132099"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0A4ECF75-0F11-4319-B785-ADBFC69D8D31}" type="slidenum">
              <a:rPr lang="zh-CN" altLang="en-US">
                <a:solidFill>
                  <a:srgbClr val="000000"/>
                </a:solidFill>
              </a:rPr>
              <a:pPr defTabSz="912813" fontAlgn="base">
                <a:spcBef>
                  <a:spcPct val="0"/>
                </a:spcBef>
                <a:spcAft>
                  <a:spcPct val="0"/>
                </a:spcAft>
              </a:pPr>
              <a:t>66</a:t>
            </a:fld>
            <a:endParaRPr lang="en-US" altLang="zh-CN">
              <a:solidFill>
                <a:srgbClr val="000000"/>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幻灯片图像占位符 1"/>
          <p:cNvSpPr>
            <a:spLocks noGrp="1" noRot="1" noChangeAspect="1"/>
          </p:cNvSpPr>
          <p:nvPr>
            <p:ph type="sldImg"/>
          </p:nvPr>
        </p:nvSpPr>
        <p:spPr bwMode="auto">
          <a:noFill/>
          <a:ln>
            <a:solidFill>
              <a:srgbClr val="000000"/>
            </a:solidFill>
            <a:miter lim="800000"/>
            <a:headEnd/>
            <a:tailEnd/>
          </a:ln>
        </p:spPr>
      </p:sp>
      <p:sp>
        <p:nvSpPr>
          <p:cNvPr id="55298"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55299"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5D558618-8781-4E04-AA32-E5279958819C}" type="slidenum">
              <a:rPr lang="zh-CN" altLang="en-US"/>
              <a:pPr defTabSz="912813" fontAlgn="base">
                <a:spcBef>
                  <a:spcPct val="0"/>
                </a:spcBef>
                <a:spcAft>
                  <a:spcPct val="0"/>
                </a:spcAft>
              </a:pPr>
              <a:t>17</a:t>
            </a:fld>
            <a:endParaRPr lang="en-US" altLang="zh-CN"/>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1" name="幻灯片图像占位符 1"/>
          <p:cNvSpPr>
            <a:spLocks noGrp="1" noRot="1" noChangeAspect="1" noTextEdit="1"/>
          </p:cNvSpPr>
          <p:nvPr>
            <p:ph type="sldImg"/>
          </p:nvPr>
        </p:nvSpPr>
        <p:spPr bwMode="auto">
          <a:xfrm>
            <a:off x="26988" y="744538"/>
            <a:ext cx="6615112" cy="3722687"/>
          </a:xfrm>
          <a:noFill/>
          <a:ln>
            <a:solidFill>
              <a:srgbClr val="000000"/>
            </a:solidFill>
            <a:miter lim="800000"/>
            <a:headEnd/>
            <a:tailEnd/>
          </a:ln>
        </p:spPr>
      </p:sp>
      <p:sp>
        <p:nvSpPr>
          <p:cNvPr id="143362"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zh-CN" altLang="en-US" smtClean="0"/>
          </a:p>
        </p:txBody>
      </p:sp>
      <p:sp>
        <p:nvSpPr>
          <p:cNvPr id="143363"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20BA1CB5-4E04-4731-A308-871063D752EF}" type="slidenum">
              <a:rPr lang="en-US" altLang="zh-CN">
                <a:latin typeface="Arial" charset="0"/>
              </a:rPr>
              <a:pPr defTabSz="912813" fontAlgn="base">
                <a:spcBef>
                  <a:spcPct val="0"/>
                </a:spcBef>
                <a:spcAft>
                  <a:spcPct val="0"/>
                </a:spcAft>
              </a:pPr>
              <a:t>76</a:t>
            </a:fld>
            <a:endParaRPr lang="en-US" altLang="zh-CN">
              <a:latin typeface="Arial"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09" name="幻灯片图像占位符 1"/>
          <p:cNvSpPr>
            <a:spLocks noGrp="1" noRot="1" noChangeAspect="1" noTextEdit="1"/>
          </p:cNvSpPr>
          <p:nvPr>
            <p:ph type="sldImg"/>
          </p:nvPr>
        </p:nvSpPr>
        <p:spPr bwMode="auto">
          <a:xfrm>
            <a:off x="26988" y="744538"/>
            <a:ext cx="6615112" cy="3722687"/>
          </a:xfrm>
          <a:noFill/>
          <a:ln>
            <a:solidFill>
              <a:srgbClr val="000000"/>
            </a:solidFill>
            <a:miter lim="800000"/>
            <a:headEnd/>
            <a:tailEnd/>
          </a:ln>
        </p:spPr>
      </p:sp>
      <p:sp>
        <p:nvSpPr>
          <p:cNvPr id="145410"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zh-CN" altLang="en-US" smtClean="0"/>
          </a:p>
        </p:txBody>
      </p:sp>
      <p:sp>
        <p:nvSpPr>
          <p:cNvPr id="145411"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1196F66D-D3CA-408C-A83A-E7AD15E85388}" type="slidenum">
              <a:rPr lang="en-US" altLang="zh-CN">
                <a:solidFill>
                  <a:srgbClr val="000000"/>
                </a:solidFill>
                <a:latin typeface="Arial" charset="0"/>
              </a:rPr>
              <a:pPr defTabSz="912813" fontAlgn="base">
                <a:spcBef>
                  <a:spcPct val="0"/>
                </a:spcBef>
                <a:spcAft>
                  <a:spcPct val="0"/>
                </a:spcAft>
              </a:pPr>
              <a:t>77</a:t>
            </a:fld>
            <a:endParaRPr lang="en-US" altLang="zh-CN">
              <a:solidFill>
                <a:srgbClr val="000000"/>
              </a:solidFill>
              <a:latin typeface="Arial"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3" name="幻灯片图像占位符 1"/>
          <p:cNvSpPr>
            <a:spLocks noGrp="1" noRot="1" noChangeAspect="1"/>
          </p:cNvSpPr>
          <p:nvPr>
            <p:ph type="sldImg"/>
          </p:nvPr>
        </p:nvSpPr>
        <p:spPr bwMode="auto">
          <a:noFill/>
          <a:ln>
            <a:solidFill>
              <a:srgbClr val="000000"/>
            </a:solidFill>
            <a:miter lim="800000"/>
            <a:headEnd/>
            <a:tailEnd/>
          </a:ln>
        </p:spPr>
      </p:sp>
      <p:sp>
        <p:nvSpPr>
          <p:cNvPr id="156674" name="备注占位符 2"/>
          <p:cNvSpPr>
            <a:spLocks noGrp="1"/>
          </p:cNvSpPr>
          <p:nvPr>
            <p:ph type="body" idx="1"/>
          </p:nvPr>
        </p:nvSpPr>
        <p:spPr bwMode="auto">
          <a:noFill/>
        </p:spPr>
        <p:txBody>
          <a:bodyPr wrap="square" numCol="1" anchor="t" anchorCtr="0" compatLnSpc="1">
            <a:prstTxWarp prst="textNoShape">
              <a:avLst/>
            </a:prstTxWarp>
          </a:bodyPr>
          <a:lstStyle/>
          <a:p>
            <a:pPr algn="ctr">
              <a:spcBef>
                <a:spcPct val="0"/>
              </a:spcBef>
            </a:pPr>
            <a:r>
              <a:rPr lang="zh-CN" altLang="en-US" smtClean="0"/>
              <a:t>信息茧房来自做茧自</a:t>
            </a:r>
            <a:r>
              <a:rPr lang="en-US" altLang="zh-CN" smtClean="0"/>
              <a:t>FU</a:t>
            </a:r>
            <a:r>
              <a:rPr lang="zh-CN" altLang="en-US" smtClean="0"/>
              <a:t>：现在流行的</a:t>
            </a:r>
            <a:r>
              <a:rPr lang="en-US" altLang="zh-CN" smtClean="0"/>
              <a:t>DSP</a:t>
            </a:r>
            <a:r>
              <a:rPr lang="zh-CN" altLang="en-US" smtClean="0"/>
              <a:t>等，都是针对消费者已有行为推送广告，局限</a:t>
            </a:r>
            <a:endParaRPr lang="en-US" altLang="zh-CN" smtClean="0"/>
          </a:p>
          <a:p>
            <a:pPr>
              <a:spcBef>
                <a:spcPct val="0"/>
              </a:spcBef>
            </a:pPr>
            <a:endParaRPr lang="zh-CN" altLang="en-US" smtClean="0"/>
          </a:p>
        </p:txBody>
      </p:sp>
      <p:sp>
        <p:nvSpPr>
          <p:cNvPr id="156675"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E05C597A-D756-4F25-BFC4-23A1B560E6E9}" type="slidenum">
              <a:rPr lang="zh-CN" altLang="en-US">
                <a:solidFill>
                  <a:srgbClr val="000000"/>
                </a:solidFill>
              </a:rPr>
              <a:pPr defTabSz="912813" fontAlgn="base">
                <a:spcBef>
                  <a:spcPct val="0"/>
                </a:spcBef>
                <a:spcAft>
                  <a:spcPct val="0"/>
                </a:spcAft>
              </a:pPr>
              <a:t>86</a:t>
            </a:fld>
            <a:endParaRPr lang="en-US" altLang="zh-CN">
              <a:solidFill>
                <a:srgbClr val="000000"/>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幻灯片图像占位符 1"/>
          <p:cNvSpPr>
            <a:spLocks noGrp="1" noRot="1" noChangeAspect="1"/>
          </p:cNvSpPr>
          <p:nvPr>
            <p:ph type="sldImg"/>
          </p:nvPr>
        </p:nvSpPr>
        <p:spPr bwMode="auto">
          <a:noFill/>
          <a:ln>
            <a:solidFill>
              <a:srgbClr val="000000"/>
            </a:solidFill>
            <a:miter lim="800000"/>
            <a:headEnd/>
            <a:tailEnd/>
          </a:ln>
        </p:spPr>
      </p:sp>
      <p:sp>
        <p:nvSpPr>
          <p:cNvPr id="57346"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57347"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BF9E6CDF-9DF6-4DB7-8BAD-D2FE4B86F699}" type="slidenum">
              <a:rPr lang="zh-CN" altLang="en-US"/>
              <a:pPr defTabSz="912813" fontAlgn="base">
                <a:spcBef>
                  <a:spcPct val="0"/>
                </a:spcBef>
                <a:spcAft>
                  <a:spcPct val="0"/>
                </a:spcAft>
              </a:pPr>
              <a:t>18</a:t>
            </a:fld>
            <a:endParaRPr lang="en-US" altLang="zh-C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幻灯片图像占位符 1"/>
          <p:cNvSpPr>
            <a:spLocks noGrp="1" noRot="1" noChangeAspect="1"/>
          </p:cNvSpPr>
          <p:nvPr>
            <p:ph type="sldImg"/>
          </p:nvPr>
        </p:nvSpPr>
        <p:spPr bwMode="auto">
          <a:noFill/>
          <a:ln>
            <a:solidFill>
              <a:srgbClr val="000000"/>
            </a:solidFill>
            <a:miter lim="800000"/>
            <a:headEnd/>
            <a:tailEnd/>
          </a:ln>
        </p:spPr>
      </p:sp>
      <p:sp>
        <p:nvSpPr>
          <p:cNvPr id="59394"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59395"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1370D868-C309-4780-8045-D1F31FFCCD4B}" type="slidenum">
              <a:rPr lang="zh-CN" altLang="en-US"/>
              <a:pPr defTabSz="912813" fontAlgn="base">
                <a:spcBef>
                  <a:spcPct val="0"/>
                </a:spcBef>
                <a:spcAft>
                  <a:spcPct val="0"/>
                </a:spcAft>
              </a:pPr>
              <a:t>19</a:t>
            </a:fld>
            <a:endParaRPr lang="en-US" altLang="zh-C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幻灯片图像占位符 1"/>
          <p:cNvSpPr>
            <a:spLocks noGrp="1" noRot="1" noChangeAspect="1"/>
          </p:cNvSpPr>
          <p:nvPr>
            <p:ph type="sldImg"/>
          </p:nvPr>
        </p:nvSpPr>
        <p:spPr bwMode="auto">
          <a:noFill/>
          <a:ln>
            <a:solidFill>
              <a:srgbClr val="000000"/>
            </a:solidFill>
            <a:miter lim="800000"/>
            <a:headEnd/>
            <a:tailEnd/>
          </a:ln>
        </p:spPr>
      </p:sp>
      <p:sp>
        <p:nvSpPr>
          <p:cNvPr id="66562"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66563"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C6AD3248-D92E-4929-AB63-0F530E17538B}" type="slidenum">
              <a:rPr lang="zh-CN" altLang="en-US"/>
              <a:pPr defTabSz="912813" fontAlgn="base">
                <a:spcBef>
                  <a:spcPct val="0"/>
                </a:spcBef>
                <a:spcAft>
                  <a:spcPct val="0"/>
                </a:spcAft>
              </a:pPr>
              <a:t>25</a:t>
            </a:fld>
            <a:endParaRPr lang="en-US" altLang="zh-C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幻灯片图像占位符 1"/>
          <p:cNvSpPr>
            <a:spLocks noGrp="1" noRot="1" noChangeAspect="1"/>
          </p:cNvSpPr>
          <p:nvPr>
            <p:ph type="sldImg"/>
          </p:nvPr>
        </p:nvSpPr>
        <p:spPr bwMode="auto">
          <a:noFill/>
          <a:ln>
            <a:solidFill>
              <a:srgbClr val="000000"/>
            </a:solidFill>
            <a:miter lim="800000"/>
            <a:headEnd/>
            <a:tailEnd/>
          </a:ln>
        </p:spPr>
      </p:sp>
      <p:sp>
        <p:nvSpPr>
          <p:cNvPr id="71682"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71683"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CE7E0094-043E-412C-B8A7-CAA9907EABDF}" type="slidenum">
              <a:rPr lang="zh-CN" altLang="en-US"/>
              <a:pPr defTabSz="912813" fontAlgn="base">
                <a:spcBef>
                  <a:spcPct val="0"/>
                </a:spcBef>
                <a:spcAft>
                  <a:spcPct val="0"/>
                </a:spcAft>
              </a:pPr>
              <a:t>29</a:t>
            </a:fld>
            <a:endParaRPr lang="en-US" altLang="zh-C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幻灯片图像占位符 1"/>
          <p:cNvSpPr>
            <a:spLocks noGrp="1" noRot="1" noChangeAspect="1"/>
          </p:cNvSpPr>
          <p:nvPr>
            <p:ph type="sldImg"/>
          </p:nvPr>
        </p:nvSpPr>
        <p:spPr bwMode="auto">
          <a:noFill/>
          <a:ln>
            <a:solidFill>
              <a:srgbClr val="000000"/>
            </a:solidFill>
            <a:miter lim="800000"/>
            <a:headEnd/>
            <a:tailEnd/>
          </a:ln>
        </p:spPr>
      </p:sp>
      <p:sp>
        <p:nvSpPr>
          <p:cNvPr id="73730"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73731"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8D7C6853-8419-405A-8D8C-679FE8A005E1}" type="slidenum">
              <a:rPr lang="zh-CN" altLang="en-US"/>
              <a:pPr defTabSz="912813" fontAlgn="base">
                <a:spcBef>
                  <a:spcPct val="0"/>
                </a:spcBef>
                <a:spcAft>
                  <a:spcPct val="0"/>
                </a:spcAft>
              </a:pPr>
              <a:t>30</a:t>
            </a:fld>
            <a:endParaRPr lang="en-US" altLang="zh-C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幻灯片图像占位符 1"/>
          <p:cNvSpPr>
            <a:spLocks noGrp="1" noRot="1" noChangeAspect="1"/>
          </p:cNvSpPr>
          <p:nvPr>
            <p:ph type="sldImg"/>
          </p:nvPr>
        </p:nvSpPr>
        <p:spPr bwMode="auto">
          <a:noFill/>
          <a:ln>
            <a:solidFill>
              <a:srgbClr val="000000"/>
            </a:solidFill>
            <a:miter lim="800000"/>
            <a:headEnd/>
            <a:tailEnd/>
          </a:ln>
        </p:spPr>
      </p:sp>
      <p:sp>
        <p:nvSpPr>
          <p:cNvPr id="75778"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kumimoji="1" lang="zh-CN" altLang="en-US" smtClean="0"/>
          </a:p>
        </p:txBody>
      </p:sp>
      <p:sp>
        <p:nvSpPr>
          <p:cNvPr id="75779" name="幻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B6388BE0-B8BD-4058-B8AB-B56E96A3C513}" type="slidenum">
              <a:rPr lang="zh-CN" altLang="en-US"/>
              <a:pPr defTabSz="912813" fontAlgn="base">
                <a:spcBef>
                  <a:spcPct val="0"/>
                </a:spcBef>
                <a:spcAft>
                  <a:spcPct val="0"/>
                </a:spcAft>
              </a:pPr>
              <a:t>31</a:t>
            </a:fld>
            <a:endParaRPr lang="en-US" altLang="zh-CN"/>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9_标题和内容">
    <p:spTree>
      <p:nvGrpSpPr>
        <p:cNvPr id="1" name=""/>
        <p:cNvGrpSpPr/>
        <p:nvPr/>
      </p:nvGrpSpPr>
      <p:grpSpPr>
        <a:xfrm>
          <a:off x="0" y="0"/>
          <a:ext cx="0" cy="0"/>
          <a:chOff x="0" y="0"/>
          <a:chExt cx="0" cy="0"/>
        </a:xfrm>
      </p:grpSpPr>
      <p:pic>
        <p:nvPicPr>
          <p:cNvPr id="2" name="图片 7"/>
          <p:cNvPicPr>
            <a:picLocks noChangeAspect="1"/>
          </p:cNvPicPr>
          <p:nvPr userDrawn="1"/>
        </p:nvPicPr>
        <p:blipFill>
          <a:blip r:embed="rId2"/>
          <a:srcRect t="7272"/>
          <a:stretch>
            <a:fillRect/>
          </a:stretch>
        </p:blipFill>
        <p:spPr bwMode="auto">
          <a:xfrm>
            <a:off x="0" y="0"/>
            <a:ext cx="12192000" cy="6858000"/>
          </a:xfrm>
          <a:prstGeom prst="rect">
            <a:avLst/>
          </a:prstGeom>
          <a:noFill/>
          <a:ln w="9525">
            <a:noFill/>
            <a:miter lim="800000"/>
            <a:headEnd/>
            <a:tailEnd/>
          </a:ln>
        </p:spPr>
      </p:pic>
      <p:sp>
        <p:nvSpPr>
          <p:cNvPr id="3"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4"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8A28A721-D593-42F2-8ED2-CBD9B4B4C4DE}" type="slidenum">
              <a:rPr lang="zh-CN" altLang="en-US"/>
              <a:pPr>
                <a:defRPr/>
              </a:pPr>
              <a:t>‹#›</a:t>
            </a:fld>
            <a:endParaRPr lang="zh-CN"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0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609600" y="1600201"/>
            <a:ext cx="109728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5"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8B037686-5691-4B6B-B706-58670A7491E2}" type="slidenum">
              <a:rPr lang="zh-CN" altLang="en-US"/>
              <a:pPr>
                <a:defRPr/>
              </a:pPr>
              <a:t>‹#›</a:t>
            </a:fld>
            <a:endParaRPr lang="zh-CN" alt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2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609600" y="1600201"/>
            <a:ext cx="109728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5"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46D36ECF-7D84-4E2C-943D-B0CD3D776964}" type="slidenum">
              <a:rPr lang="zh-CN" altLang="en-US"/>
              <a:pPr>
                <a:defRPr/>
              </a:pPr>
              <a:t>‹#›</a:t>
            </a:fld>
            <a:endParaRPr lang="zh-CN" alt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3_标题和内容">
    <p:spTree>
      <p:nvGrpSpPr>
        <p:cNvPr id="1" name=""/>
        <p:cNvGrpSpPr/>
        <p:nvPr/>
      </p:nvGrpSpPr>
      <p:grpSpPr>
        <a:xfrm>
          <a:off x="0" y="0"/>
          <a:ext cx="0" cy="0"/>
          <a:chOff x="0" y="0"/>
          <a:chExt cx="0" cy="0"/>
        </a:xfrm>
      </p:grpSpPr>
      <p:pic>
        <p:nvPicPr>
          <p:cNvPr id="2" name="图片 7"/>
          <p:cNvPicPr>
            <a:picLocks noChangeAspect="1"/>
          </p:cNvPicPr>
          <p:nvPr userDrawn="1"/>
        </p:nvPicPr>
        <p:blipFill>
          <a:blip r:embed="rId2"/>
          <a:srcRect t="7272"/>
          <a:stretch>
            <a:fillRect/>
          </a:stretch>
        </p:blipFill>
        <p:spPr bwMode="auto">
          <a:xfrm>
            <a:off x="0" y="0"/>
            <a:ext cx="12192000" cy="6858000"/>
          </a:xfrm>
          <a:prstGeom prst="rect">
            <a:avLst/>
          </a:prstGeom>
          <a:noFill/>
          <a:ln w="9525">
            <a:noFill/>
            <a:miter lim="800000"/>
            <a:headEnd/>
            <a:tailEnd/>
          </a:ln>
        </p:spPr>
      </p:pic>
      <p:sp>
        <p:nvSpPr>
          <p:cNvPr id="3"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4"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A1CA9590-A5E3-4AE3-9182-B08E5672AD53}" type="slidenum">
              <a:rPr lang="zh-CN" altLang="en-US"/>
              <a:pPr>
                <a:defRPr/>
              </a:pPr>
              <a:t>‹#›</a:t>
            </a:fld>
            <a:endParaRPr lang="zh-CN" alt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8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609600" y="1600201"/>
            <a:ext cx="109728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5"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37F6CAB2-A843-46DE-B533-753966B59BA0}" type="slidenum">
              <a:rPr lang="zh-CN" altLang="en-US"/>
              <a:pPr>
                <a:defRPr/>
              </a:pPr>
              <a:t>‹#›</a:t>
            </a:fld>
            <a:endParaRPr lang="zh-CN" altLang="en-US" dirty="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9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609600" y="1600201"/>
            <a:ext cx="109728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5"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DBAC96AA-6C5D-4CF5-90F3-23DEE2957774}" type="slidenum">
              <a:rPr lang="zh-CN" altLang="en-US"/>
              <a:pPr>
                <a:defRPr/>
              </a:pPr>
              <a:t>‹#›</a:t>
            </a:fld>
            <a:endParaRPr lang="zh-CN" altLang="en-US" dirty="0"/>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0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609600" y="1600201"/>
            <a:ext cx="109728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5"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3BC7346B-7058-4CDE-AF68-52A2E4897A85}" type="slidenum">
              <a:rPr lang="zh-CN" altLang="en-US"/>
              <a:pPr>
                <a:defRPr/>
              </a:pPr>
              <a:t>‹#›</a:t>
            </a:fld>
            <a:endParaRPr lang="zh-CN" altLang="en-US"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609600" y="1600201"/>
            <a:ext cx="109728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5"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1EBCDDE6-D5D2-4963-A7F7-4FD4B85481B8}" type="slidenum">
              <a:rPr lang="zh-CN" altLang="en-US"/>
              <a:pPr>
                <a:defRPr/>
              </a:pPr>
              <a:t>‹#›</a:t>
            </a:fld>
            <a:endParaRPr lang="zh-CN" altLang="en-US" dirty="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2_标题和内容">
    <p:spTree>
      <p:nvGrpSpPr>
        <p:cNvPr id="1" name=""/>
        <p:cNvGrpSpPr/>
        <p:nvPr/>
      </p:nvGrpSpPr>
      <p:grpSpPr>
        <a:xfrm>
          <a:off x="0" y="0"/>
          <a:ext cx="0" cy="0"/>
          <a:chOff x="0" y="0"/>
          <a:chExt cx="0" cy="0"/>
        </a:xfrm>
      </p:grpSpPr>
      <p:pic>
        <p:nvPicPr>
          <p:cNvPr id="2" name="图片 7"/>
          <p:cNvPicPr>
            <a:picLocks noChangeAspect="1"/>
          </p:cNvPicPr>
          <p:nvPr userDrawn="1"/>
        </p:nvPicPr>
        <p:blipFill>
          <a:blip r:embed="rId2"/>
          <a:srcRect t="7272"/>
          <a:stretch>
            <a:fillRect/>
          </a:stretch>
        </p:blipFill>
        <p:spPr bwMode="auto">
          <a:xfrm>
            <a:off x="0" y="0"/>
            <a:ext cx="12192000" cy="6858000"/>
          </a:xfrm>
          <a:prstGeom prst="rect">
            <a:avLst/>
          </a:prstGeom>
          <a:noFill/>
          <a:ln w="9525">
            <a:noFill/>
            <a:miter lim="800000"/>
            <a:headEnd/>
            <a:tailEnd/>
          </a:ln>
        </p:spPr>
      </p:pic>
      <p:sp>
        <p:nvSpPr>
          <p:cNvPr id="3"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4"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CC866E84-E129-4BB5-B545-7BF0B5565BDE}" type="slidenum">
              <a:rPr lang="zh-CN" altLang="en-US"/>
              <a:pPr>
                <a:defRPr/>
              </a:pPr>
              <a:t>‹#›</a:t>
            </a:fld>
            <a:endParaRPr lang="zh-CN" alt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3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609600" y="1600201"/>
            <a:ext cx="109728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5"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8AB67D02-2E36-4248-A996-48B19C44AE24}" type="slidenum">
              <a:rPr lang="zh-CN" altLang="en-US"/>
              <a:pPr>
                <a:defRPr/>
              </a:pPr>
              <a:t>‹#›</a:t>
            </a:fld>
            <a:endParaRPr lang="zh-CN" altLang="en-US"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7" name="标题占位符 1"/>
          <p:cNvSpPr>
            <a:spLocks noGrp="1"/>
          </p:cNvSpPr>
          <p:nvPr>
            <p:ph type="title"/>
          </p:nvPr>
        </p:nvSpPr>
        <p:spPr>
          <a:xfrm>
            <a:off x="838200" y="295275"/>
            <a:ext cx="9253194" cy="666259"/>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8" name="文本占位符 2"/>
          <p:cNvSpPr>
            <a:spLocks noGrp="1"/>
          </p:cNvSpPr>
          <p:nvPr>
            <p:ph idx="1"/>
          </p:nvPr>
        </p:nvSpPr>
        <p:spPr>
          <a:xfrm>
            <a:off x="838200" y="1181100"/>
            <a:ext cx="10515600" cy="535305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4_标题和内容">
    <p:spTree>
      <p:nvGrpSpPr>
        <p:cNvPr id="1" name=""/>
        <p:cNvGrpSpPr/>
        <p:nvPr/>
      </p:nvGrpSpPr>
      <p:grpSpPr>
        <a:xfrm>
          <a:off x="0" y="0"/>
          <a:ext cx="0" cy="0"/>
          <a:chOff x="0" y="0"/>
          <a:chExt cx="0" cy="0"/>
        </a:xfrm>
      </p:grpSpPr>
      <p:pic>
        <p:nvPicPr>
          <p:cNvPr id="2" name="图片 7"/>
          <p:cNvPicPr>
            <a:picLocks noChangeAspect="1"/>
          </p:cNvPicPr>
          <p:nvPr userDrawn="1"/>
        </p:nvPicPr>
        <p:blipFill>
          <a:blip r:embed="rId2"/>
          <a:srcRect t="7272"/>
          <a:stretch>
            <a:fillRect/>
          </a:stretch>
        </p:blipFill>
        <p:spPr bwMode="auto">
          <a:xfrm>
            <a:off x="0" y="0"/>
            <a:ext cx="12192000" cy="6858000"/>
          </a:xfrm>
          <a:prstGeom prst="rect">
            <a:avLst/>
          </a:prstGeom>
          <a:noFill/>
          <a:ln w="9525">
            <a:noFill/>
            <a:miter lim="800000"/>
            <a:headEnd/>
            <a:tailEnd/>
          </a:ln>
        </p:spPr>
      </p:pic>
      <p:sp>
        <p:nvSpPr>
          <p:cNvPr id="3"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4"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2B357AB7-D81A-428B-9554-4DF5B4E72385}" type="slidenum">
              <a:rPr lang="zh-CN" altLang="en-US"/>
              <a:pPr>
                <a:defRPr/>
              </a:pPr>
              <a:t>‹#›</a:t>
            </a:fld>
            <a:endParaRPr lang="zh-CN" alt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5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609600" y="1600201"/>
            <a:ext cx="109728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5"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EB7A6EB0-EE67-4F49-B943-09CE6671E0D4}" type="slidenum">
              <a:rPr lang="zh-CN" altLang="en-US"/>
              <a:pPr>
                <a:defRPr/>
              </a:pPr>
              <a:t>‹#›</a:t>
            </a:fld>
            <a:endParaRPr lang="zh-CN" altLang="en-US" dirty="0"/>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6_标题和内容">
    <p:spTree>
      <p:nvGrpSpPr>
        <p:cNvPr id="1" name=""/>
        <p:cNvGrpSpPr/>
        <p:nvPr/>
      </p:nvGrpSpPr>
      <p:grpSpPr>
        <a:xfrm>
          <a:off x="0" y="0"/>
          <a:ext cx="0" cy="0"/>
          <a:chOff x="0" y="0"/>
          <a:chExt cx="0" cy="0"/>
        </a:xfrm>
      </p:grpSpPr>
      <p:pic>
        <p:nvPicPr>
          <p:cNvPr id="2" name="图片 7"/>
          <p:cNvPicPr>
            <a:picLocks noChangeAspect="1"/>
          </p:cNvPicPr>
          <p:nvPr userDrawn="1"/>
        </p:nvPicPr>
        <p:blipFill>
          <a:blip r:embed="rId2"/>
          <a:srcRect t="7272"/>
          <a:stretch>
            <a:fillRect/>
          </a:stretch>
        </p:blipFill>
        <p:spPr bwMode="auto">
          <a:xfrm>
            <a:off x="0" y="0"/>
            <a:ext cx="12192000" cy="6858000"/>
          </a:xfrm>
          <a:prstGeom prst="rect">
            <a:avLst/>
          </a:prstGeom>
          <a:noFill/>
          <a:ln w="9525">
            <a:noFill/>
            <a:miter lim="800000"/>
            <a:headEnd/>
            <a:tailEnd/>
          </a:ln>
        </p:spPr>
      </p:pic>
      <p:sp>
        <p:nvSpPr>
          <p:cNvPr id="3"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4"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13472C50-172F-43C4-BF49-D161DC86B674}" type="slidenum">
              <a:rPr lang="zh-CN" altLang="en-US"/>
              <a:pPr>
                <a:defRPr/>
              </a:pPr>
              <a:t>‹#›</a:t>
            </a:fld>
            <a:endParaRPr lang="zh-CN" alt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7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609600" y="1600201"/>
            <a:ext cx="109728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5"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E270288D-D907-4D3E-9D20-81AE1F339110}" type="slidenum">
              <a:rPr lang="zh-CN" altLang="en-US"/>
              <a:pPr>
                <a:defRPr/>
              </a:pPr>
              <a:t>‹#›</a:t>
            </a:fld>
            <a:endParaRPr lang="zh-CN" altLang="en-US" dirty="0"/>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8_标题和内容">
    <p:spTree>
      <p:nvGrpSpPr>
        <p:cNvPr id="1" name=""/>
        <p:cNvGrpSpPr/>
        <p:nvPr/>
      </p:nvGrpSpPr>
      <p:grpSpPr>
        <a:xfrm>
          <a:off x="0" y="0"/>
          <a:ext cx="0" cy="0"/>
          <a:chOff x="0" y="0"/>
          <a:chExt cx="0" cy="0"/>
        </a:xfrm>
      </p:grpSpPr>
      <p:pic>
        <p:nvPicPr>
          <p:cNvPr id="2" name="图片 7"/>
          <p:cNvPicPr>
            <a:picLocks noChangeAspect="1"/>
          </p:cNvPicPr>
          <p:nvPr userDrawn="1"/>
        </p:nvPicPr>
        <p:blipFill>
          <a:blip r:embed="rId2"/>
          <a:srcRect t="7272"/>
          <a:stretch>
            <a:fillRect/>
          </a:stretch>
        </p:blipFill>
        <p:spPr bwMode="auto">
          <a:xfrm>
            <a:off x="0" y="0"/>
            <a:ext cx="12192000" cy="6858000"/>
          </a:xfrm>
          <a:prstGeom prst="rect">
            <a:avLst/>
          </a:prstGeom>
          <a:noFill/>
          <a:ln w="9525">
            <a:noFill/>
            <a:miter lim="800000"/>
            <a:headEnd/>
            <a:tailEnd/>
          </a:ln>
        </p:spPr>
      </p:pic>
      <p:sp>
        <p:nvSpPr>
          <p:cNvPr id="3"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4"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193664B2-2999-42C6-B70F-BF8D06258B8F}" type="slidenum">
              <a:rPr lang="zh-CN" altLang="en-US"/>
              <a:pPr>
                <a:defRPr/>
              </a:pPr>
              <a:t>‹#›</a:t>
            </a:fld>
            <a:endParaRPr lang="zh-CN" alt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9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609600" y="1600201"/>
            <a:ext cx="109728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5"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D0400546-2056-454F-A4FE-BB94211E1DD3}" type="slidenum">
              <a:rPr lang="zh-CN" altLang="en-US"/>
              <a:pPr>
                <a:defRPr/>
              </a:pPr>
              <a:t>‹#›</a:t>
            </a:fld>
            <a:endParaRPr lang="zh-CN" altLang="en-US" dirty="0"/>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0_标题和内容">
    <p:spTree>
      <p:nvGrpSpPr>
        <p:cNvPr id="1" name=""/>
        <p:cNvGrpSpPr/>
        <p:nvPr/>
      </p:nvGrpSpPr>
      <p:grpSpPr>
        <a:xfrm>
          <a:off x="0" y="0"/>
          <a:ext cx="0" cy="0"/>
          <a:chOff x="0" y="0"/>
          <a:chExt cx="0" cy="0"/>
        </a:xfrm>
      </p:grpSpPr>
      <p:pic>
        <p:nvPicPr>
          <p:cNvPr id="2" name="图片 7"/>
          <p:cNvPicPr>
            <a:picLocks noChangeAspect="1"/>
          </p:cNvPicPr>
          <p:nvPr userDrawn="1"/>
        </p:nvPicPr>
        <p:blipFill>
          <a:blip r:embed="rId2"/>
          <a:srcRect t="7272"/>
          <a:stretch>
            <a:fillRect/>
          </a:stretch>
        </p:blipFill>
        <p:spPr bwMode="auto">
          <a:xfrm>
            <a:off x="0" y="0"/>
            <a:ext cx="12192000" cy="6858000"/>
          </a:xfrm>
          <a:prstGeom prst="rect">
            <a:avLst/>
          </a:prstGeom>
          <a:noFill/>
          <a:ln w="9525">
            <a:noFill/>
            <a:miter lim="800000"/>
            <a:headEnd/>
            <a:tailEnd/>
          </a:ln>
        </p:spPr>
      </p:pic>
      <p:sp>
        <p:nvSpPr>
          <p:cNvPr id="3"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4"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4F1843F1-337A-40AF-99F5-B84850815E95}" type="slidenum">
              <a:rPr lang="zh-CN" altLang="en-US"/>
              <a:pPr>
                <a:defRPr/>
              </a:pPr>
              <a:t>‹#›</a:t>
            </a:fld>
            <a:endParaRPr lang="zh-CN" alt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609600" y="1600201"/>
            <a:ext cx="109728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5"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D451F5D2-5324-4BC3-B996-5884EEF8213D}" type="slidenum">
              <a:rPr lang="zh-CN" altLang="en-US"/>
              <a:pPr>
                <a:defRPr/>
              </a:pPr>
              <a:t>‹#›</a:t>
            </a:fld>
            <a:endParaRPr lang="zh-CN" altLang="en-US" dirty="0"/>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2_标题和内容">
    <p:spTree>
      <p:nvGrpSpPr>
        <p:cNvPr id="1" name=""/>
        <p:cNvGrpSpPr/>
        <p:nvPr/>
      </p:nvGrpSpPr>
      <p:grpSpPr>
        <a:xfrm>
          <a:off x="0" y="0"/>
          <a:ext cx="0" cy="0"/>
          <a:chOff x="0" y="0"/>
          <a:chExt cx="0" cy="0"/>
        </a:xfrm>
      </p:grpSpPr>
      <p:pic>
        <p:nvPicPr>
          <p:cNvPr id="2" name="图片 7"/>
          <p:cNvPicPr>
            <a:picLocks noChangeAspect="1"/>
          </p:cNvPicPr>
          <p:nvPr userDrawn="1"/>
        </p:nvPicPr>
        <p:blipFill>
          <a:blip r:embed="rId2"/>
          <a:srcRect t="7272"/>
          <a:stretch>
            <a:fillRect/>
          </a:stretch>
        </p:blipFill>
        <p:spPr bwMode="auto">
          <a:xfrm>
            <a:off x="0" y="0"/>
            <a:ext cx="12192000" cy="6858000"/>
          </a:xfrm>
          <a:prstGeom prst="rect">
            <a:avLst/>
          </a:prstGeom>
          <a:noFill/>
          <a:ln w="9525">
            <a:noFill/>
            <a:miter lim="800000"/>
            <a:headEnd/>
            <a:tailEnd/>
          </a:ln>
        </p:spPr>
      </p:pic>
      <p:sp>
        <p:nvSpPr>
          <p:cNvPr id="3"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4"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287C560D-4560-4D25-A2D7-A4587FCCDE1F}" type="slidenum">
              <a:rPr lang="zh-CN" altLang="en-US"/>
              <a:pPr>
                <a:defRPr/>
              </a:pPr>
              <a:t>‹#›</a:t>
            </a:fld>
            <a:endParaRPr lang="zh-CN" alt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8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609600" y="1600201"/>
            <a:ext cx="109728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5"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42BA5830-793F-413D-AF1D-A098220DE454}" type="slidenum">
              <a:rPr lang="zh-CN" altLang="en-US"/>
              <a:pPr>
                <a:defRPr/>
              </a:pPr>
              <a:t>‹#›</a:t>
            </a:fld>
            <a:endParaRPr lang="zh-CN" alt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灯片编号占位符 3"/>
          <p:cNvSpPr>
            <a:spLocks noGrp="1"/>
          </p:cNvSpPr>
          <p:nvPr>
            <p:ph type="sldNum" sz="quarter" idx="10"/>
          </p:nvPr>
        </p:nvSpPr>
        <p:spPr>
          <a:xfrm>
            <a:off x="1479550" y="6232525"/>
            <a:ext cx="828675" cy="144463"/>
          </a:xfrm>
          <a:prstGeom prst="rect">
            <a:avLst/>
          </a:prstGeom>
        </p:spPr>
        <p:txBody>
          <a:bodyPr/>
          <a:lstStyle>
            <a:lvl1pPr defTabSz="914377" fontAlgn="auto">
              <a:spcBef>
                <a:spcPts val="0"/>
              </a:spcBef>
              <a:spcAft>
                <a:spcPts val="0"/>
              </a:spcAft>
              <a:defRPr>
                <a:solidFill>
                  <a:srgbClr val="FFFFFF"/>
                </a:solidFill>
                <a:latin typeface="+mn-lt"/>
                <a:ea typeface="+mn-ea"/>
              </a:defRPr>
            </a:lvl1pPr>
          </a:lstStyle>
          <a:p>
            <a:pPr>
              <a:defRPr/>
            </a:pPr>
            <a:fld id="{29D0B0F6-224A-45C8-AF29-B7666A2524C2}" type="slidenum">
              <a:rPr lang="zh-CN" altLang="en-US"/>
              <a:pPr>
                <a:defRPr/>
              </a:pPr>
              <a:t>‹#›</a:t>
            </a:fld>
            <a:endParaRPr lang="zh-CN" altLang="en-US"/>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3" name="标题占位符 1"/>
          <p:cNvSpPr>
            <a:spLocks noGrp="1"/>
          </p:cNvSpPr>
          <p:nvPr>
            <p:ph type="title"/>
          </p:nvPr>
        </p:nvSpPr>
        <p:spPr>
          <a:xfrm>
            <a:off x="609601" y="274640"/>
            <a:ext cx="10972800" cy="706091"/>
          </a:xfrm>
          <a:prstGeom prst="rect">
            <a:avLst/>
          </a:prstGeom>
        </p:spPr>
        <p:txBody>
          <a:bodyPr vert="horz" lIns="148142" tIns="74070" rIns="148142" bIns="74070" rtlCol="0" anchor="ctr">
            <a:normAutofit/>
          </a:bodyPr>
          <a:lstStyle>
            <a:lvl1pPr>
              <a:defRPr sz="3400"/>
            </a:lvl1pPr>
          </a:lstStyle>
          <a:p>
            <a:r>
              <a:rPr lang="zh-CN" altLang="en-US" dirty="0" smtClean="0"/>
              <a:t>单击此处编辑母版标题样式</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4" name="标题 1"/>
          <p:cNvSpPr>
            <a:spLocks noGrp="1"/>
          </p:cNvSpPr>
          <p:nvPr>
            <p:ph type="title"/>
          </p:nvPr>
        </p:nvSpPr>
        <p:spPr>
          <a:xfrm>
            <a:off x="431371" y="280322"/>
            <a:ext cx="10369152" cy="1143000"/>
          </a:xfrm>
          <a:prstGeom prst="rect">
            <a:avLst/>
          </a:prstGeom>
        </p:spPr>
        <p:txBody>
          <a:bodyPr>
            <a:normAutofit/>
          </a:bodyPr>
          <a:lstStyle>
            <a:lvl1pPr algn="l">
              <a:defRPr sz="3600" b="1">
                <a:latin typeface="微软雅黑" panose="020B0503020204020204" pitchFamily="34" charset="-122"/>
                <a:ea typeface="微软雅黑" panose="020B0503020204020204" pitchFamily="34" charset="-122"/>
                <a:cs typeface="Times New Roman" pitchFamily="18" charset="0"/>
              </a:defRPr>
            </a:lvl1pPr>
          </a:lstStyle>
          <a:p>
            <a:r>
              <a:rPr lang="zh-CN" altLang="en-US" dirty="0" smtClean="0"/>
              <a:t>单击此处编辑母版标题样式</a:t>
            </a:r>
            <a:endParaRPr lang="zh-CN" altLang="en-US" dirty="0"/>
          </a:p>
        </p:txBody>
      </p:sp>
      <p:sp>
        <p:nvSpPr>
          <p:cNvPr id="3" name="灯片编号占位符 4"/>
          <p:cNvSpPr>
            <a:spLocks noGrp="1"/>
          </p:cNvSpPr>
          <p:nvPr>
            <p:ph type="sldNum" sz="quarter" idx="10"/>
          </p:nvPr>
        </p:nvSpPr>
        <p:spPr>
          <a:xfrm>
            <a:off x="1479550" y="6232525"/>
            <a:ext cx="828675" cy="144463"/>
          </a:xfrm>
          <a:prstGeom prst="rect">
            <a:avLst/>
          </a:prstGeom>
        </p:spPr>
        <p:txBody>
          <a:bodyPr/>
          <a:lstStyle>
            <a:lvl1pPr defTabSz="914377" fontAlgn="auto">
              <a:spcBef>
                <a:spcPts val="0"/>
              </a:spcBef>
              <a:spcAft>
                <a:spcPts val="0"/>
              </a:spcAft>
              <a:defRPr>
                <a:solidFill>
                  <a:srgbClr val="FFFFFF"/>
                </a:solidFill>
                <a:latin typeface="+mn-lt"/>
                <a:ea typeface="+mn-ea"/>
              </a:defRPr>
            </a:lvl1pPr>
          </a:lstStyle>
          <a:p>
            <a:pPr>
              <a:defRPr/>
            </a:pPr>
            <a:fld id="{CF24D222-A95A-4317-B42E-681D3864E5EA}" type="slidenum">
              <a:rPr lang="zh-CN" altLang="en-US"/>
              <a:pPr>
                <a:defRPr/>
              </a:pPr>
              <a:t>‹#›</a:t>
            </a:fld>
            <a:endParaRPr lang="zh-CN" altLang="en-US"/>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2_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6"/>
            <a:ext cx="10363200" cy="1470025"/>
          </a:xfrm>
          <a:prstGeom prst="rect">
            <a:avLst/>
          </a:prstGeom>
        </p:spPr>
        <p:txBody>
          <a:bodyPr lIns="121917" tIns="60958" rIns="121917" bIns="60958"/>
          <a:lstStyle/>
          <a:p>
            <a:r>
              <a:rPr lang="zh-CN" altLang="en-US" smtClean="0"/>
              <a:t>单击此处编辑母版标题样式</a:t>
            </a:r>
            <a:endParaRPr lang="zh-CN" altLang="en-US"/>
          </a:p>
        </p:txBody>
      </p:sp>
      <p:sp>
        <p:nvSpPr>
          <p:cNvPr id="3" name="副标题 2"/>
          <p:cNvSpPr>
            <a:spLocks noGrp="1"/>
          </p:cNvSpPr>
          <p:nvPr>
            <p:ph type="subTitle" idx="1"/>
          </p:nvPr>
        </p:nvSpPr>
        <p:spPr>
          <a:xfrm>
            <a:off x="1828800" y="3886200"/>
            <a:ext cx="8534400" cy="1752600"/>
          </a:xfrm>
          <a:prstGeom prst="rect">
            <a:avLst/>
          </a:prstGeom>
        </p:spPr>
        <p:txBody>
          <a:bodyPr lIns="121917" tIns="60958" rIns="121917" bIns="60958"/>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a:xfrm>
            <a:off x="609600" y="6356350"/>
            <a:ext cx="2844800" cy="365125"/>
          </a:xfrm>
          <a:prstGeom prst="rect">
            <a:avLst/>
          </a:prstGeom>
        </p:spPr>
        <p:txBody>
          <a:bodyPr lIns="121917" tIns="60958" rIns="121917" bIns="60958"/>
          <a:lstStyle>
            <a:lvl1pPr defTabSz="914377" fontAlgn="auto">
              <a:spcBef>
                <a:spcPts val="0"/>
              </a:spcBef>
              <a:spcAft>
                <a:spcPts val="0"/>
              </a:spcAft>
              <a:defRPr>
                <a:latin typeface="+mn-lt"/>
                <a:ea typeface="+mn-ea"/>
              </a:defRPr>
            </a:lvl1pPr>
          </a:lstStyle>
          <a:p>
            <a:pPr>
              <a:defRPr/>
            </a:pPr>
            <a:fld id="{860EDC43-55E5-4596-910D-6A4059BDAB1F}" type="datetimeFigureOut">
              <a:rPr lang="zh-CN" altLang="en-US"/>
              <a:pPr>
                <a:defRPr/>
              </a:pPr>
              <a:t>2017/8/24</a:t>
            </a:fld>
            <a:endParaRPr lang="zh-CN" altLang="en-US"/>
          </a:p>
        </p:txBody>
      </p:sp>
      <p:sp>
        <p:nvSpPr>
          <p:cNvPr id="5" name="页脚占位符 4"/>
          <p:cNvSpPr>
            <a:spLocks noGrp="1"/>
          </p:cNvSpPr>
          <p:nvPr>
            <p:ph type="ftr" sz="quarter" idx="11"/>
          </p:nvPr>
        </p:nvSpPr>
        <p:spPr>
          <a:xfrm>
            <a:off x="4165600" y="6356350"/>
            <a:ext cx="3860800" cy="365125"/>
          </a:xfrm>
          <a:prstGeom prst="rect">
            <a:avLst/>
          </a:prstGeom>
        </p:spPr>
        <p:txBody>
          <a:bodyPr lIns="121917" tIns="60958" rIns="121917" bIns="60958"/>
          <a:lstStyle>
            <a:lvl1pPr defTabSz="914377" fontAlgn="auto">
              <a:spcBef>
                <a:spcPts val="0"/>
              </a:spcBef>
              <a:spcAft>
                <a:spcPts val="0"/>
              </a:spcAft>
              <a:defRPr>
                <a:latin typeface="+mn-lt"/>
                <a:ea typeface="+mn-ea"/>
              </a:defRPr>
            </a:lvl1pPr>
          </a:lstStyle>
          <a:p>
            <a:pPr>
              <a:defRPr/>
            </a:pPr>
            <a:endParaRPr lang="zh-CN" altLang="en-US"/>
          </a:p>
        </p:txBody>
      </p:sp>
      <p:sp>
        <p:nvSpPr>
          <p:cNvPr id="6" name="灯片编号占位符 5"/>
          <p:cNvSpPr>
            <a:spLocks noGrp="1"/>
          </p:cNvSpPr>
          <p:nvPr>
            <p:ph type="sldNum" sz="quarter" idx="12"/>
          </p:nvPr>
        </p:nvSpPr>
        <p:spPr>
          <a:xfrm>
            <a:off x="8737600" y="6356350"/>
            <a:ext cx="2844800" cy="365125"/>
          </a:xfrm>
          <a:prstGeom prst="rect">
            <a:avLst/>
          </a:prstGeom>
        </p:spPr>
        <p:txBody>
          <a:bodyPr lIns="121917" tIns="60958" rIns="121917" bIns="60958"/>
          <a:lstStyle>
            <a:lvl1pPr defTabSz="914377" fontAlgn="auto">
              <a:spcBef>
                <a:spcPts val="0"/>
              </a:spcBef>
              <a:spcAft>
                <a:spcPts val="0"/>
              </a:spcAft>
              <a:defRPr>
                <a:latin typeface="+mn-lt"/>
                <a:ea typeface="+mn-ea"/>
              </a:defRPr>
            </a:lvl1pPr>
          </a:lstStyle>
          <a:p>
            <a:pPr>
              <a:defRPr/>
            </a:pPr>
            <a:fld id="{9112F779-39A5-4C65-9399-BE685F8379AB}" type="slidenum">
              <a:rPr lang="zh-CN" altLang="en-US"/>
              <a:pPr>
                <a:defRPr/>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xfrm>
            <a:off x="9156700" y="6356350"/>
            <a:ext cx="2743200" cy="365125"/>
          </a:xfrm>
          <a:prstGeom prst="rect">
            <a:avLst/>
          </a:prstGeom>
        </p:spPr>
        <p:txBody>
          <a:bodyPr/>
          <a:lstStyle>
            <a:lvl1pPr algn="r" defTabSz="914377" fontAlgn="auto">
              <a:spcBef>
                <a:spcPts val="0"/>
              </a:spcBef>
              <a:spcAft>
                <a:spcPts val="0"/>
              </a:spcAft>
              <a:defRPr sz="1400" b="0" i="0" smtClean="0">
                <a:solidFill>
                  <a:schemeClr val="accent6">
                    <a:lumMod val="75000"/>
                  </a:schemeClr>
                </a:solidFill>
                <a:latin typeface="+mn-ea"/>
                <a:ea typeface="+mn-ea"/>
              </a:defRPr>
            </a:lvl1pPr>
          </a:lstStyle>
          <a:p>
            <a:pPr>
              <a:defRPr/>
            </a:pPr>
            <a:fld id="{8870286A-8711-476E-A21C-E8E775F04D3C}" type="slidenum">
              <a:rPr lang="zh-CN" altLang="en-US"/>
              <a:pPr>
                <a:defRPr/>
              </a:pPr>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6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609600" y="1600201"/>
            <a:ext cx="109728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5"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EE15FFC1-EEA0-4A34-A58A-50110143D175}" type="slidenum">
              <a:rPr lang="zh-CN" altLang="en-US"/>
              <a:pPr>
                <a:defRPr/>
              </a:pPr>
              <a:t>‹#›</a:t>
            </a:fld>
            <a:endParaRPr lang="zh-CN" alt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7_标题和内容">
    <p:spTree>
      <p:nvGrpSpPr>
        <p:cNvPr id="1" name=""/>
        <p:cNvGrpSpPr/>
        <p:nvPr/>
      </p:nvGrpSpPr>
      <p:grpSpPr>
        <a:xfrm>
          <a:off x="0" y="0"/>
          <a:ext cx="0" cy="0"/>
          <a:chOff x="0" y="0"/>
          <a:chExt cx="0" cy="0"/>
        </a:xfrm>
      </p:grpSpPr>
      <p:pic>
        <p:nvPicPr>
          <p:cNvPr id="2" name="图片 7"/>
          <p:cNvPicPr>
            <a:picLocks noChangeAspect="1"/>
          </p:cNvPicPr>
          <p:nvPr userDrawn="1"/>
        </p:nvPicPr>
        <p:blipFill>
          <a:blip r:embed="rId2"/>
          <a:srcRect t="7272"/>
          <a:stretch>
            <a:fillRect/>
          </a:stretch>
        </p:blipFill>
        <p:spPr bwMode="auto">
          <a:xfrm>
            <a:off x="0" y="0"/>
            <a:ext cx="12192000" cy="6858000"/>
          </a:xfrm>
          <a:prstGeom prst="rect">
            <a:avLst/>
          </a:prstGeom>
          <a:noFill/>
          <a:ln w="9525">
            <a:noFill/>
            <a:miter lim="800000"/>
            <a:headEnd/>
            <a:tailEnd/>
          </a:ln>
        </p:spPr>
      </p:pic>
      <p:sp>
        <p:nvSpPr>
          <p:cNvPr id="3"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4"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735E0D35-04BE-44FC-96DB-17790ABAD903}" type="slidenum">
              <a:rPr lang="zh-CN" altLang="en-US"/>
              <a:pPr>
                <a:defRPr/>
              </a:pPr>
              <a:t>‹#›</a:t>
            </a:fld>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8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609600" y="1600201"/>
            <a:ext cx="109728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600" y="6356350"/>
            <a:ext cx="2844800" cy="365125"/>
          </a:xfrm>
          <a:prstGeom prst="rect">
            <a:avLst/>
          </a:prstGeom>
        </p:spPr>
        <p:txBody>
          <a:bodyPr/>
          <a:lstStyle>
            <a:lvl1pPr defTabSz="914377" fontAlgn="auto">
              <a:spcBef>
                <a:spcPts val="0"/>
              </a:spcBef>
              <a:spcAft>
                <a:spcPts val="0"/>
              </a:spcAft>
              <a:defRPr>
                <a:latin typeface="+mn-lt"/>
                <a:ea typeface="+mn-ea"/>
              </a:defRPr>
            </a:lvl1pPr>
          </a:lstStyle>
          <a:p>
            <a:pPr>
              <a:defRPr/>
            </a:pPr>
            <a:fld id="{2C79E002-828E-024E-A499-DA6D1B7ABC40}" type="datetime1">
              <a:rPr lang="zh-CN" altLang="en-US"/>
              <a:pPr>
                <a:defRPr/>
              </a:pPr>
              <a:t>2017/8/24</a:t>
            </a:fld>
            <a:endParaRPr lang="zh-CN" altLang="en-US"/>
          </a:p>
        </p:txBody>
      </p:sp>
      <p:sp>
        <p:nvSpPr>
          <p:cNvPr id="5" name="灯片编号占位符 5"/>
          <p:cNvSpPr>
            <a:spLocks noGrp="1"/>
          </p:cNvSpPr>
          <p:nvPr>
            <p:ph type="sldNum" sz="quarter" idx="11"/>
          </p:nvPr>
        </p:nvSpPr>
        <p:spPr>
          <a:xfrm>
            <a:off x="5135563" y="6424613"/>
            <a:ext cx="2844800" cy="365125"/>
          </a:xfrm>
          <a:prstGeom prst="rect">
            <a:avLst/>
          </a:prstGeom>
        </p:spPr>
        <p:txBody>
          <a:bodyPr/>
          <a:lstStyle>
            <a:lvl1pPr algn="ctr" defTabSz="914377" fontAlgn="auto">
              <a:spcBef>
                <a:spcPts val="0"/>
              </a:spcBef>
              <a:spcAft>
                <a:spcPts val="0"/>
              </a:spcAft>
              <a:defRPr smtClean="0">
                <a:solidFill>
                  <a:schemeClr val="tx1"/>
                </a:solidFill>
                <a:latin typeface="+mn-lt"/>
                <a:ea typeface="+mn-ea"/>
              </a:defRPr>
            </a:lvl1pPr>
          </a:lstStyle>
          <a:p>
            <a:pPr>
              <a:defRPr/>
            </a:pPr>
            <a:fld id="{111549D0-167A-496E-9564-58CF35413BFE}" type="slidenum">
              <a:rPr lang="zh-CN" altLang="en-US"/>
              <a:pPr>
                <a:defRPr/>
              </a:pPr>
              <a:t>‹#›</a:t>
            </a:fld>
            <a:endParaRPr lang="zh-CN" alt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32"/>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65" r:id="rId1"/>
    <p:sldLayoutId id="2147483764"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 id="2147483763" r:id="rId30"/>
  </p:sldLayoutIdLst>
  <p:timing>
    <p:tnLst>
      <p:par>
        <p:cTn id="1" dur="indefinite" restart="never" nodeType="tmRoot"/>
      </p:par>
    </p:tnLst>
  </p:timing>
  <p:txStyles>
    <p:titleStyle>
      <a:lvl1pPr algn="l" defTabSz="912813" rtl="0" fontAlgn="base">
        <a:lnSpc>
          <a:spcPct val="90000"/>
        </a:lnSpc>
        <a:spcBef>
          <a:spcPct val="0"/>
        </a:spcBef>
        <a:spcAft>
          <a:spcPct val="0"/>
        </a:spcAft>
        <a:defRPr sz="4400" kern="1200">
          <a:solidFill>
            <a:schemeClr val="tx1"/>
          </a:solidFill>
          <a:latin typeface="+mj-lt"/>
          <a:ea typeface="+mj-ea"/>
          <a:cs typeface="+mj-cs"/>
        </a:defRPr>
      </a:lvl1pPr>
      <a:lvl2pPr algn="l" defTabSz="912813" rtl="0" fontAlgn="base">
        <a:lnSpc>
          <a:spcPct val="90000"/>
        </a:lnSpc>
        <a:spcBef>
          <a:spcPct val="0"/>
        </a:spcBef>
        <a:spcAft>
          <a:spcPct val="0"/>
        </a:spcAft>
        <a:defRPr sz="4400">
          <a:solidFill>
            <a:schemeClr val="tx1"/>
          </a:solidFill>
          <a:latin typeface="Calibri Light"/>
          <a:ea typeface="微软雅黑" pitchFamily="34" charset="-122"/>
        </a:defRPr>
      </a:lvl2pPr>
      <a:lvl3pPr algn="l" defTabSz="912813" rtl="0" fontAlgn="base">
        <a:lnSpc>
          <a:spcPct val="90000"/>
        </a:lnSpc>
        <a:spcBef>
          <a:spcPct val="0"/>
        </a:spcBef>
        <a:spcAft>
          <a:spcPct val="0"/>
        </a:spcAft>
        <a:defRPr sz="4400">
          <a:solidFill>
            <a:schemeClr val="tx1"/>
          </a:solidFill>
          <a:latin typeface="Calibri Light"/>
          <a:ea typeface="微软雅黑" pitchFamily="34" charset="-122"/>
        </a:defRPr>
      </a:lvl3pPr>
      <a:lvl4pPr algn="l" defTabSz="912813" rtl="0" fontAlgn="base">
        <a:lnSpc>
          <a:spcPct val="90000"/>
        </a:lnSpc>
        <a:spcBef>
          <a:spcPct val="0"/>
        </a:spcBef>
        <a:spcAft>
          <a:spcPct val="0"/>
        </a:spcAft>
        <a:defRPr sz="4400">
          <a:solidFill>
            <a:schemeClr val="tx1"/>
          </a:solidFill>
          <a:latin typeface="Calibri Light"/>
          <a:ea typeface="微软雅黑" pitchFamily="34" charset="-122"/>
        </a:defRPr>
      </a:lvl4pPr>
      <a:lvl5pPr algn="l" defTabSz="912813" rtl="0" fontAlgn="base">
        <a:lnSpc>
          <a:spcPct val="90000"/>
        </a:lnSpc>
        <a:spcBef>
          <a:spcPct val="0"/>
        </a:spcBef>
        <a:spcAft>
          <a:spcPct val="0"/>
        </a:spcAft>
        <a:defRPr sz="4400">
          <a:solidFill>
            <a:schemeClr val="tx1"/>
          </a:solidFill>
          <a:latin typeface="Calibri Light"/>
          <a:ea typeface="微软雅黑" pitchFamily="34" charset="-122"/>
        </a:defRPr>
      </a:lvl5pPr>
      <a:lvl6pPr marL="457200" algn="l" defTabSz="912813" rtl="0" fontAlgn="base">
        <a:lnSpc>
          <a:spcPct val="90000"/>
        </a:lnSpc>
        <a:spcBef>
          <a:spcPct val="0"/>
        </a:spcBef>
        <a:spcAft>
          <a:spcPct val="0"/>
        </a:spcAft>
        <a:defRPr sz="4400">
          <a:solidFill>
            <a:schemeClr val="tx1"/>
          </a:solidFill>
          <a:latin typeface="Calibri Light"/>
          <a:ea typeface="微软雅黑" pitchFamily="34" charset="-122"/>
        </a:defRPr>
      </a:lvl6pPr>
      <a:lvl7pPr marL="914400" algn="l" defTabSz="912813" rtl="0" fontAlgn="base">
        <a:lnSpc>
          <a:spcPct val="90000"/>
        </a:lnSpc>
        <a:spcBef>
          <a:spcPct val="0"/>
        </a:spcBef>
        <a:spcAft>
          <a:spcPct val="0"/>
        </a:spcAft>
        <a:defRPr sz="4400">
          <a:solidFill>
            <a:schemeClr val="tx1"/>
          </a:solidFill>
          <a:latin typeface="Calibri Light"/>
          <a:ea typeface="微软雅黑" pitchFamily="34" charset="-122"/>
        </a:defRPr>
      </a:lvl7pPr>
      <a:lvl8pPr marL="1371600" algn="l" defTabSz="912813" rtl="0" fontAlgn="base">
        <a:lnSpc>
          <a:spcPct val="90000"/>
        </a:lnSpc>
        <a:spcBef>
          <a:spcPct val="0"/>
        </a:spcBef>
        <a:spcAft>
          <a:spcPct val="0"/>
        </a:spcAft>
        <a:defRPr sz="4400">
          <a:solidFill>
            <a:schemeClr val="tx1"/>
          </a:solidFill>
          <a:latin typeface="Calibri Light"/>
          <a:ea typeface="微软雅黑" pitchFamily="34" charset="-122"/>
        </a:defRPr>
      </a:lvl8pPr>
      <a:lvl9pPr marL="1828800" algn="l" defTabSz="912813" rtl="0" fontAlgn="base">
        <a:lnSpc>
          <a:spcPct val="90000"/>
        </a:lnSpc>
        <a:spcBef>
          <a:spcPct val="0"/>
        </a:spcBef>
        <a:spcAft>
          <a:spcPct val="0"/>
        </a:spcAft>
        <a:defRPr sz="4400">
          <a:solidFill>
            <a:schemeClr val="tx1"/>
          </a:solidFill>
          <a:latin typeface="Calibri Light"/>
          <a:ea typeface="微软雅黑" pitchFamily="34" charset="-122"/>
        </a:defRPr>
      </a:lvl9pPr>
    </p:titleStyle>
    <p:bodyStyle>
      <a:lvl1pPr marL="227013" indent="-227013" algn="l" defTabSz="912813" rtl="0" fontAlgn="base">
        <a:lnSpc>
          <a:spcPct val="90000"/>
        </a:lnSpc>
        <a:spcBef>
          <a:spcPts val="1000"/>
        </a:spcBef>
        <a:spcAft>
          <a:spcPct val="0"/>
        </a:spcAft>
        <a:buFont typeface="Arial" charset="0"/>
        <a:buChar char="•"/>
        <a:defRPr sz="2800" kern="1200">
          <a:solidFill>
            <a:schemeClr val="tx1"/>
          </a:solidFill>
          <a:latin typeface="+mn-lt"/>
          <a:ea typeface="+mn-ea"/>
          <a:cs typeface="+mn-cs"/>
        </a:defRPr>
      </a:lvl1pPr>
      <a:lvl2pPr marL="684213" indent="-227013" algn="l" defTabSz="912813" rtl="0" fontAlgn="base">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1413" indent="-227013" algn="l" defTabSz="912813" rtl="0" fontAlgn="base">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598613" indent="-227013" algn="l" defTabSz="912813" rtl="0" fontAlgn="base">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5813" indent="-227013" algn="l" defTabSz="912813" rtl="0" fontAlgn="base">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4.xml"/><Relationship Id="rId1" Type="http://schemas.openxmlformats.org/officeDocument/2006/relationships/vmlDrawing" Target="../drawings/vmlDrawing1.vml"/><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vmlDrawing" Target="../drawings/vmlDrawing2.vml"/><Relationship Id="rId4"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33.jpeg"/><Relationship Id="rId5" Type="http://schemas.openxmlformats.org/officeDocument/2006/relationships/image" Target="../media/image32.png"/><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5.png"/><Relationship Id="rId7" Type="http://schemas.openxmlformats.org/officeDocument/2006/relationships/image" Target="../media/image39.jpeg"/><Relationship Id="rId2" Type="http://schemas.openxmlformats.org/officeDocument/2006/relationships/image" Target="../media/image10.png"/><Relationship Id="rId1" Type="http://schemas.openxmlformats.org/officeDocument/2006/relationships/slideLayout" Target="../slideLayouts/slideLayout4.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vmlDrawing" Target="../drawings/vmlDrawing3.v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3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1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33.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image" Target="../media/image48.jpeg"/><Relationship Id="rId7" Type="http://schemas.openxmlformats.org/officeDocument/2006/relationships/image" Target="../media/image52.jpeg"/><Relationship Id="rId12" Type="http://schemas.openxmlformats.org/officeDocument/2006/relationships/image" Target="../media/image57.png"/><Relationship Id="rId2" Type="http://schemas.openxmlformats.org/officeDocument/2006/relationships/image" Target="../media/image47.jpeg"/><Relationship Id="rId1" Type="http://schemas.openxmlformats.org/officeDocument/2006/relationships/slideLayout" Target="../slideLayouts/slideLayout4.xml"/><Relationship Id="rId6" Type="http://schemas.openxmlformats.org/officeDocument/2006/relationships/image" Target="../media/image51.jpeg"/><Relationship Id="rId11" Type="http://schemas.openxmlformats.org/officeDocument/2006/relationships/image" Target="../media/image56.jpeg"/><Relationship Id="rId5" Type="http://schemas.openxmlformats.org/officeDocument/2006/relationships/image" Target="../media/image50.jpeg"/><Relationship Id="rId10" Type="http://schemas.openxmlformats.org/officeDocument/2006/relationships/image" Target="../media/image55.jpeg"/><Relationship Id="rId4" Type="http://schemas.openxmlformats.org/officeDocument/2006/relationships/image" Target="../media/image49.jpeg"/><Relationship Id="rId9" Type="http://schemas.openxmlformats.org/officeDocument/2006/relationships/image" Target="../media/image54.jpeg"/></Relationships>
</file>

<file path=ppt/slides/_rels/slide3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60.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14.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jpe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8.xml"/><Relationship Id="rId1" Type="http://schemas.openxmlformats.org/officeDocument/2006/relationships/slideLayout" Target="../slideLayouts/slideLayout18.xml"/><Relationship Id="rId6" Type="http://schemas.openxmlformats.org/officeDocument/2006/relationships/image" Target="../media/image69.jpeg"/><Relationship Id="rId5" Type="http://schemas.openxmlformats.org/officeDocument/2006/relationships/image" Target="../media/image68.png"/><Relationship Id="rId4" Type="http://schemas.openxmlformats.org/officeDocument/2006/relationships/image" Target="../media/image14.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31.png"/><Relationship Id="rId5" Type="http://schemas.openxmlformats.org/officeDocument/2006/relationships/image" Target="../media/image71.jpeg"/><Relationship Id="rId4" Type="http://schemas.openxmlformats.org/officeDocument/2006/relationships/image" Target="../media/image14.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4.jpeg"/><Relationship Id="rId2" Type="http://schemas.openxmlformats.org/officeDocument/2006/relationships/notesSlide" Target="../notesSlides/notesSlide22.xml"/><Relationship Id="rId1" Type="http://schemas.openxmlformats.org/officeDocument/2006/relationships/slideLayout" Target="../slideLayouts/slideLayout22.xml"/><Relationship Id="rId6" Type="http://schemas.openxmlformats.org/officeDocument/2006/relationships/image" Target="../media/image73.jpeg"/><Relationship Id="rId5" Type="http://schemas.openxmlformats.org/officeDocument/2006/relationships/image" Target="../media/image14.png"/><Relationship Id="rId4" Type="http://schemas.openxmlformats.org/officeDocument/2006/relationships/image" Target="../media/image12.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24.xml"/><Relationship Id="rId1" Type="http://schemas.openxmlformats.org/officeDocument/2006/relationships/slideLayout" Target="../slideLayouts/slideLayout24.xml"/><Relationship Id="rId6" Type="http://schemas.openxmlformats.org/officeDocument/2006/relationships/image" Target="../media/image77.jpeg"/><Relationship Id="rId5" Type="http://schemas.openxmlformats.org/officeDocument/2006/relationships/image" Target="../media/image76.jpeg"/><Relationship Id="rId4" Type="http://schemas.openxmlformats.org/officeDocument/2006/relationships/image" Target="../media/image14.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6.xml"/><Relationship Id="rId1" Type="http://schemas.openxmlformats.org/officeDocument/2006/relationships/slideLayout" Target="../slideLayouts/slideLayout26.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jpe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7.xml"/></Relationships>
</file>

<file path=ppt/slides/_rels/slide54.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28.xml"/><Relationship Id="rId1" Type="http://schemas.openxmlformats.org/officeDocument/2006/relationships/slideLayout" Target="../slideLayouts/slideLayout28.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14.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Layout" Target="../slideLayouts/slideLayout3.xml"/><Relationship Id="rId4" Type="http://schemas.openxmlformats.org/officeDocument/2006/relationships/tags" Target="../tags/tag5.xml"/></Relationships>
</file>

<file path=ppt/slides/_rels/slide6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7.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7.bin"/><Relationship Id="rId5" Type="http://schemas.openxmlformats.org/officeDocument/2006/relationships/oleObject" Target="../embeddings/oleObject6.bin"/><Relationship Id="rId10" Type="http://schemas.openxmlformats.org/officeDocument/2006/relationships/oleObject" Target="../embeddings/oleObject11.bin"/><Relationship Id="rId4" Type="http://schemas.openxmlformats.org/officeDocument/2006/relationships/slideLayout" Target="../slideLayouts/slideLayout4.xml"/><Relationship Id="rId9" Type="http://schemas.openxmlformats.org/officeDocument/2006/relationships/oleObject" Target="../embeddings/oleObject10.bin"/></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 Id="rId9" Type="http://schemas.openxmlformats.org/officeDocument/2006/relationships/image" Target="../media/image10.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oleObject" Target="../embeddings/oleObject15.bin"/><Relationship Id="rId5" Type="http://schemas.openxmlformats.org/officeDocument/2006/relationships/oleObject" Target="../embeddings/oleObject14.bin"/><Relationship Id="rId4" Type="http://schemas.openxmlformats.org/officeDocument/2006/relationships/oleObject" Target="../embeddings/oleObject13.bin"/></Relationships>
</file>

<file path=ppt/slides/_rels/slide7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slideLayout" Target="../slideLayouts/slideLayout3.xml"/><Relationship Id="rId4" Type="http://schemas.openxmlformats.org/officeDocument/2006/relationships/tags" Target="../tags/tag11.xml"/></Relationships>
</file>

<file path=ppt/slides/_rels/slide7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slideLayout" Target="../slideLayouts/slideLayout30.xml"/><Relationship Id="rId4" Type="http://schemas.openxmlformats.org/officeDocument/2006/relationships/tags" Target="../tags/tag15.xml"/></Relationships>
</file>

<file path=ppt/slides/_rels/slide7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vmlDrawing" Target="../drawings/vmlDrawing6.vml"/><Relationship Id="rId5" Type="http://schemas.openxmlformats.org/officeDocument/2006/relationships/oleObject" Target="../embeddings/oleObject17.bin"/><Relationship Id="rId4" Type="http://schemas.openxmlformats.org/officeDocument/2006/relationships/oleObject" Target="../embeddings/oleObject16.bin"/></Relationships>
</file>

<file path=ppt/slides/_rels/slide78.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vmlDrawing" Target="../drawings/vmlDrawing7.vml"/><Relationship Id="rId4" Type="http://schemas.openxmlformats.org/officeDocument/2006/relationships/image" Target="../media/image104.jpe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6.jpeg"/><Relationship Id="rId7" Type="http://schemas.openxmlformats.org/officeDocument/2006/relationships/image" Target="../media/image110.jpeg"/><Relationship Id="rId2" Type="http://schemas.openxmlformats.org/officeDocument/2006/relationships/image" Target="../media/image105.jpeg"/><Relationship Id="rId1" Type="http://schemas.openxmlformats.org/officeDocument/2006/relationships/slideLayout" Target="../slideLayouts/slideLayout4.xml"/><Relationship Id="rId6" Type="http://schemas.openxmlformats.org/officeDocument/2006/relationships/image" Target="../media/image109.png"/><Relationship Id="rId5" Type="http://schemas.openxmlformats.org/officeDocument/2006/relationships/image" Target="../media/image108.jpeg"/><Relationship Id="rId4" Type="http://schemas.openxmlformats.org/officeDocument/2006/relationships/image" Target="../media/image107.jpeg"/></Relationships>
</file>

<file path=ppt/slides/_rels/slide83.xml.rels><?xml version="1.0" encoding="UTF-8" standalone="yes"?>
<Relationships xmlns="http://schemas.openxmlformats.org/package/2006/relationships"><Relationship Id="rId13" Type="http://schemas.openxmlformats.org/officeDocument/2006/relationships/image" Target="../media/image117.png"/><Relationship Id="rId18" Type="http://schemas.openxmlformats.org/officeDocument/2006/relationships/hyperlink" Target="http://www.iqiyi.com/v_19rrmd8cos.html" TargetMode="External"/><Relationship Id="rId26" Type="http://schemas.openxmlformats.org/officeDocument/2006/relationships/hyperlink" Target="http://www.iqiyi.com/v_19rrmfrsec.html" TargetMode="External"/><Relationship Id="rId39" Type="http://schemas.openxmlformats.org/officeDocument/2006/relationships/image" Target="../media/image130.png"/><Relationship Id="rId3" Type="http://schemas.openxmlformats.org/officeDocument/2006/relationships/image" Target="../media/image112.png"/><Relationship Id="rId21" Type="http://schemas.openxmlformats.org/officeDocument/2006/relationships/image" Target="../media/image121.png"/><Relationship Id="rId34" Type="http://schemas.openxmlformats.org/officeDocument/2006/relationships/hyperlink" Target="http://www.iqiyi.com/a_19rrhba9tt.html" TargetMode="External"/><Relationship Id="rId42" Type="http://schemas.openxmlformats.org/officeDocument/2006/relationships/hyperlink" Target="http://www.iqiyi.com/v_19rrob6fz4.html" TargetMode="External"/><Relationship Id="rId47" Type="http://schemas.openxmlformats.org/officeDocument/2006/relationships/image" Target="../media/image134.png"/><Relationship Id="rId50" Type="http://schemas.openxmlformats.org/officeDocument/2006/relationships/image" Target="../media/image136.emf"/><Relationship Id="rId7" Type="http://schemas.openxmlformats.org/officeDocument/2006/relationships/image" Target="../media/image114.png"/><Relationship Id="rId12" Type="http://schemas.openxmlformats.org/officeDocument/2006/relationships/hyperlink" Target="http://www.iqiyi.com/v_19rrm7oxfs.html" TargetMode="External"/><Relationship Id="rId17" Type="http://schemas.openxmlformats.org/officeDocument/2006/relationships/image" Target="../media/image119.png"/><Relationship Id="rId25" Type="http://schemas.openxmlformats.org/officeDocument/2006/relationships/image" Target="../media/image123.png"/><Relationship Id="rId33" Type="http://schemas.openxmlformats.org/officeDocument/2006/relationships/image" Target="../media/image127.png"/><Relationship Id="rId38" Type="http://schemas.openxmlformats.org/officeDocument/2006/relationships/hyperlink" Target="http://www.iqiyi.com/dianshiju/20100330/n65.html" TargetMode="External"/><Relationship Id="rId46" Type="http://schemas.openxmlformats.org/officeDocument/2006/relationships/hyperlink" Target="http://www.iqiyi.com/a_19rrhasex5.html" TargetMode="External"/><Relationship Id="rId2" Type="http://schemas.openxmlformats.org/officeDocument/2006/relationships/hyperlink" Target="http://www.iqiyi.com/v_19rrmbr34s.html" TargetMode="External"/><Relationship Id="rId16" Type="http://schemas.openxmlformats.org/officeDocument/2006/relationships/hyperlink" Target="http://www.iqiyi.com/v_19rrmd7dko.html" TargetMode="External"/><Relationship Id="rId20" Type="http://schemas.openxmlformats.org/officeDocument/2006/relationships/hyperlink" Target="http://www.iqiyi.com/v_19rrm9dsm4.html" TargetMode="External"/><Relationship Id="rId29" Type="http://schemas.openxmlformats.org/officeDocument/2006/relationships/image" Target="../media/image125.png"/><Relationship Id="rId41" Type="http://schemas.openxmlformats.org/officeDocument/2006/relationships/image" Target="../media/image131.png"/><Relationship Id="rId1" Type="http://schemas.openxmlformats.org/officeDocument/2006/relationships/slideLayout" Target="../slideLayouts/slideLayout4.xml"/><Relationship Id="rId6" Type="http://schemas.openxmlformats.org/officeDocument/2006/relationships/hyperlink" Target="http://www.iqiyi.com/v_19rrmel1p4.html" TargetMode="External"/><Relationship Id="rId11" Type="http://schemas.openxmlformats.org/officeDocument/2006/relationships/image" Target="../media/image116.png"/><Relationship Id="rId24" Type="http://schemas.openxmlformats.org/officeDocument/2006/relationships/hyperlink" Target="http://www.iqiyi.com/v_19rrm75rks.html" TargetMode="External"/><Relationship Id="rId32" Type="http://schemas.openxmlformats.org/officeDocument/2006/relationships/hyperlink" Target="http://www.iqiyi.com/a_19rrhalkwd.html" TargetMode="External"/><Relationship Id="rId37" Type="http://schemas.openxmlformats.org/officeDocument/2006/relationships/image" Target="../media/image129.png"/><Relationship Id="rId40" Type="http://schemas.openxmlformats.org/officeDocument/2006/relationships/hyperlink" Target="http://www.iqiyi.com/v_19rrgzy5ls.html" TargetMode="External"/><Relationship Id="rId45" Type="http://schemas.openxmlformats.org/officeDocument/2006/relationships/image" Target="../media/image133.png"/><Relationship Id="rId53" Type="http://schemas.openxmlformats.org/officeDocument/2006/relationships/image" Target="../media/image139.png"/><Relationship Id="rId5" Type="http://schemas.openxmlformats.org/officeDocument/2006/relationships/image" Target="../media/image113.png"/><Relationship Id="rId15" Type="http://schemas.openxmlformats.org/officeDocument/2006/relationships/image" Target="../media/image118.png"/><Relationship Id="rId23" Type="http://schemas.openxmlformats.org/officeDocument/2006/relationships/image" Target="../media/image122.png"/><Relationship Id="rId28" Type="http://schemas.openxmlformats.org/officeDocument/2006/relationships/hyperlink" Target="http://www.iqiyi.com/v_19rrmejlhc.html" TargetMode="External"/><Relationship Id="rId36" Type="http://schemas.openxmlformats.org/officeDocument/2006/relationships/hyperlink" Target="http://www.iqiyi.com/v_19rrma6yuc.html" TargetMode="External"/><Relationship Id="rId49" Type="http://schemas.openxmlformats.org/officeDocument/2006/relationships/image" Target="../media/image135.png"/><Relationship Id="rId10" Type="http://schemas.openxmlformats.org/officeDocument/2006/relationships/hyperlink" Target="http://www.iqiyi.com/v_19rrmgbjow.html" TargetMode="External"/><Relationship Id="rId19" Type="http://schemas.openxmlformats.org/officeDocument/2006/relationships/image" Target="../media/image120.png"/><Relationship Id="rId31" Type="http://schemas.openxmlformats.org/officeDocument/2006/relationships/image" Target="../media/image126.png"/><Relationship Id="rId44" Type="http://schemas.openxmlformats.org/officeDocument/2006/relationships/hyperlink" Target="http://www.iqiyi.com/v_19rrohr1jc.html" TargetMode="External"/><Relationship Id="rId52" Type="http://schemas.openxmlformats.org/officeDocument/2006/relationships/image" Target="../media/image138.jpeg"/><Relationship Id="rId4" Type="http://schemas.openxmlformats.org/officeDocument/2006/relationships/hyperlink" Target="http://www.iqiyi.com/v_19rrm8fpwk.html" TargetMode="External"/><Relationship Id="rId9" Type="http://schemas.openxmlformats.org/officeDocument/2006/relationships/image" Target="../media/image115.png"/><Relationship Id="rId14" Type="http://schemas.openxmlformats.org/officeDocument/2006/relationships/hyperlink" Target="http://www.iqiyi.com/v_19rrmedkog.html" TargetMode="External"/><Relationship Id="rId22" Type="http://schemas.openxmlformats.org/officeDocument/2006/relationships/hyperlink" Target="http://www.iqiyi.com/v_19rrmgnl1c.html" TargetMode="External"/><Relationship Id="rId27" Type="http://schemas.openxmlformats.org/officeDocument/2006/relationships/image" Target="../media/image124.png"/><Relationship Id="rId30" Type="http://schemas.openxmlformats.org/officeDocument/2006/relationships/hyperlink" Target="http://www.iqiyi.com/a_19rrhahmdd.html" TargetMode="External"/><Relationship Id="rId35" Type="http://schemas.openxmlformats.org/officeDocument/2006/relationships/image" Target="../media/image128.png"/><Relationship Id="rId43" Type="http://schemas.openxmlformats.org/officeDocument/2006/relationships/image" Target="../media/image132.png"/><Relationship Id="rId48" Type="http://schemas.openxmlformats.org/officeDocument/2006/relationships/hyperlink" Target="http://www.iqiyi.com/a_19rrhao1fp.html" TargetMode="External"/><Relationship Id="rId8" Type="http://schemas.openxmlformats.org/officeDocument/2006/relationships/hyperlink" Target="http://www.iqiyi.com/v_19rrm7oci4.html" TargetMode="External"/><Relationship Id="rId51" Type="http://schemas.openxmlformats.org/officeDocument/2006/relationships/image" Target="../media/image137.jpeg"/></Relationships>
</file>

<file path=ppt/slides/_rels/slide84.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141.png"/><Relationship Id="rId7" Type="http://schemas.openxmlformats.org/officeDocument/2006/relationships/image" Target="../media/image145.jpeg"/><Relationship Id="rId12" Type="http://schemas.openxmlformats.org/officeDocument/2006/relationships/image" Target="../media/image150.png"/><Relationship Id="rId2" Type="http://schemas.openxmlformats.org/officeDocument/2006/relationships/image" Target="../media/image140.png"/><Relationship Id="rId1" Type="http://schemas.openxmlformats.org/officeDocument/2006/relationships/slideLayout" Target="../slideLayouts/slideLayout2.xml"/><Relationship Id="rId6" Type="http://schemas.openxmlformats.org/officeDocument/2006/relationships/image" Target="../media/image144.jpeg"/><Relationship Id="rId11" Type="http://schemas.openxmlformats.org/officeDocument/2006/relationships/image" Target="../media/image149.png"/><Relationship Id="rId5" Type="http://schemas.openxmlformats.org/officeDocument/2006/relationships/image" Target="../media/image143.png"/><Relationship Id="rId10" Type="http://schemas.openxmlformats.org/officeDocument/2006/relationships/image" Target="../media/image148.png"/><Relationship Id="rId4" Type="http://schemas.openxmlformats.org/officeDocument/2006/relationships/image" Target="../media/image142.png"/><Relationship Id="rId9" Type="http://schemas.openxmlformats.org/officeDocument/2006/relationships/image" Target="../media/image147.png"/></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151.jpeg"/><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notesSlide" Target="../notesSlides/notesSlide3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slideLayout" Target="../slideLayouts/slideLayout4.xml"/><Relationship Id="rId5" Type="http://schemas.openxmlformats.org/officeDocument/2006/relationships/tags" Target="../tags/tag20.xml"/><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15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3108325" y="2781300"/>
            <a:ext cx="10363200" cy="1470025"/>
          </a:xfrm>
        </p:spPr>
        <p:txBody>
          <a:bodyPr>
            <a:normAutofit/>
          </a:bodyPr>
          <a:lstStyle/>
          <a:p>
            <a:pPr defTabSz="914309" fontAlgn="auto">
              <a:spcAft>
                <a:spcPts val="0"/>
              </a:spcAft>
              <a:defRPr/>
            </a:pPr>
            <a:r>
              <a:rPr lang="zh-CN" altLang="en-US" sz="4800" b="1" dirty="0" smtClean="0">
                <a:effectLst>
                  <a:outerShdw blurRad="50800" dist="38100" dir="8100000" algn="tr" rotWithShape="0">
                    <a:prstClr val="black">
                      <a:alpha val="40000"/>
                    </a:prstClr>
                  </a:outerShdw>
                </a:effectLst>
                <a:latin typeface="+mj-ea"/>
              </a:rPr>
              <a:t>人 心 比 流 量 更 重 要</a:t>
            </a:r>
            <a:endParaRPr lang="zh-CN" altLang="en-US" sz="4800" b="1" dirty="0">
              <a:effectLst>
                <a:outerShdw blurRad="50800" dist="38100" dir="8100000" algn="tr" rotWithShape="0">
                  <a:prstClr val="black">
                    <a:alpha val="40000"/>
                  </a:prstClr>
                </a:outerShdw>
              </a:effectLst>
              <a:latin typeface="+mj-e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1F825FD7-3A18-4001-A6B5-3C471D57EBDC}" type="slidenum">
              <a:rPr lang="zh-CN" altLang="en-US">
                <a:latin typeface="黑体" pitchFamily="49" charset="-122"/>
                <a:ea typeface="黑体" pitchFamily="49" charset="-122"/>
              </a:rPr>
              <a:pPr defTabSz="912813" fontAlgn="base">
                <a:spcBef>
                  <a:spcPct val="0"/>
                </a:spcBef>
                <a:spcAft>
                  <a:spcPct val="0"/>
                </a:spcAft>
              </a:pPr>
              <a:t>10</a:t>
            </a:fld>
            <a:endParaRPr lang="en-US" altLang="zh-CN">
              <a:latin typeface="黑体" pitchFamily="49" charset="-122"/>
              <a:ea typeface="黑体" pitchFamily="49" charset="-122"/>
            </a:endParaRPr>
          </a:p>
        </p:txBody>
      </p:sp>
      <p:sp>
        <p:nvSpPr>
          <p:cNvPr id="44034" name="副标题 5"/>
          <p:cNvSpPr txBox="1">
            <a:spLocks/>
          </p:cNvSpPr>
          <p:nvPr/>
        </p:nvSpPr>
        <p:spPr bwMode="auto">
          <a:xfrm>
            <a:off x="762000" y="1700213"/>
            <a:ext cx="10763250" cy="762000"/>
          </a:xfrm>
          <a:prstGeom prst="rect">
            <a:avLst/>
          </a:prstGeom>
          <a:noFill/>
          <a:ln w="9525">
            <a:noFill/>
            <a:miter lim="800000"/>
            <a:headEnd/>
            <a:tailEnd/>
          </a:ln>
        </p:spPr>
        <p:txBody>
          <a:bodyPr lIns="121920" tIns="60960" rIns="121920" bIns="60960"/>
          <a:lstStyle/>
          <a:p>
            <a:pPr marL="608013" indent="-608013">
              <a:spcBef>
                <a:spcPct val="20000"/>
              </a:spcBef>
              <a:buFontTx/>
              <a:buAutoNum type="arabicPeriod"/>
            </a:pPr>
            <a:endParaRPr lang="en-US" altLang="zh-CN" sz="3200" b="1">
              <a:latin typeface="黑体" pitchFamily="49" charset="-122"/>
              <a:ea typeface="黑体" pitchFamily="49" charset="-122"/>
            </a:endParaRPr>
          </a:p>
        </p:txBody>
      </p:sp>
      <p:sp>
        <p:nvSpPr>
          <p:cNvPr id="10" name="文本框 9"/>
          <p:cNvSpPr txBox="1"/>
          <p:nvPr/>
        </p:nvSpPr>
        <p:spPr>
          <a:xfrm>
            <a:off x="4656138" y="2174875"/>
            <a:ext cx="2928937" cy="912813"/>
          </a:xfrm>
          <a:prstGeom prst="rect">
            <a:avLst/>
          </a:prstGeom>
          <a:noFill/>
        </p:spPr>
        <p:txBody>
          <a:bodyPr wrap="none">
            <a:spAutoFit/>
          </a:bodyPr>
          <a:lstStyle/>
          <a:p>
            <a:r>
              <a:rPr lang="zh-CN" altLang="en-US" sz="5300" b="1">
                <a:latin typeface="黑体" pitchFamily="49" charset="-122"/>
                <a:ea typeface="黑体" pitchFamily="49" charset="-122"/>
              </a:rPr>
              <a:t>代言品类</a:t>
            </a:r>
            <a:endParaRPr lang="zh-CN" altLang="zh-CN" sz="5300" b="1">
              <a:latin typeface="黑体" pitchFamily="49" charset="-122"/>
              <a:ea typeface="黑体" pitchFamily="49" charset="-122"/>
            </a:endParaRPr>
          </a:p>
        </p:txBody>
      </p:sp>
      <p:sp>
        <p:nvSpPr>
          <p:cNvPr id="44036" name="文本框 10"/>
          <p:cNvSpPr txBox="1">
            <a:spLocks noChangeArrowheads="1"/>
          </p:cNvSpPr>
          <p:nvPr/>
        </p:nvSpPr>
        <p:spPr bwMode="auto">
          <a:xfrm>
            <a:off x="1295400" y="3638550"/>
            <a:ext cx="10010775" cy="1201738"/>
          </a:xfrm>
          <a:prstGeom prst="rect">
            <a:avLst/>
          </a:prstGeom>
          <a:noFill/>
          <a:ln w="9525">
            <a:noFill/>
            <a:miter lim="800000"/>
            <a:headEnd/>
            <a:tailEnd/>
          </a:ln>
        </p:spPr>
        <p:txBody>
          <a:bodyPr>
            <a:spAutoFit/>
          </a:bodyPr>
          <a:lstStyle/>
          <a:p>
            <a:pPr indent="598488">
              <a:lnSpc>
                <a:spcPct val="150000"/>
              </a:lnSpc>
            </a:pPr>
            <a:r>
              <a:rPr lang="zh-CN" altLang="en-US" sz="2400">
                <a:latin typeface="黑体" pitchFamily="49" charset="-122"/>
                <a:ea typeface="黑体" pitchFamily="49" charset="-122"/>
              </a:rPr>
              <a:t>当固有品类中尚无代表性品牌时，通过抢先进入顾客心智，成为顾客认知中，该品类的代表品牌，从而获得优先选择。</a:t>
            </a:r>
            <a:endParaRPr lang="en-US" altLang="zh-CN" sz="2400">
              <a:latin typeface="黑体" pitchFamily="49" charset="-122"/>
              <a:ea typeface="黑体" pitchFamily="49" charset="-122"/>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8163DE1E-86D2-45F0-87ED-EB4562C2E06F}" type="slidenum">
              <a:rPr lang="zh-CN" altLang="en-US"/>
              <a:pPr defTabSz="912813" fontAlgn="base">
                <a:spcBef>
                  <a:spcPct val="0"/>
                </a:spcBef>
                <a:spcAft>
                  <a:spcPct val="0"/>
                </a:spcAft>
              </a:pPr>
              <a:t>11</a:t>
            </a:fld>
            <a:endParaRPr lang="en-US" altLang="zh-CN"/>
          </a:p>
        </p:txBody>
      </p:sp>
      <p:sp>
        <p:nvSpPr>
          <p:cNvPr id="17" name="副标题 5"/>
          <p:cNvSpPr txBox="1">
            <a:spLocks/>
          </p:cNvSpPr>
          <p:nvPr/>
        </p:nvSpPr>
        <p:spPr>
          <a:xfrm>
            <a:off x="285750" y="452438"/>
            <a:ext cx="10763250" cy="1047750"/>
          </a:xfrm>
          <a:prstGeom prst="rect">
            <a:avLst/>
          </a:prstGeom>
        </p:spPr>
        <p:txBody>
          <a:bodyPr lIns="121920" tIns="60960" rIns="121920" bIns="60960"/>
          <a:lstStyle/>
          <a:p>
            <a:pPr algn="just">
              <a:lnSpc>
                <a:spcPct val="150000"/>
              </a:lnSpc>
              <a:spcBef>
                <a:spcPct val="20000"/>
              </a:spcBef>
            </a:pPr>
            <a:r>
              <a:rPr lang="en-US" altLang="zh-CN" sz="4200" b="1">
                <a:solidFill>
                  <a:schemeClr val="bg1"/>
                </a:solidFill>
                <a:latin typeface="黑体" pitchFamily="49" charset="-122"/>
                <a:ea typeface="黑体" pitchFamily="49" charset="-122"/>
              </a:rPr>
              <a:t>1.</a:t>
            </a:r>
            <a:r>
              <a:rPr lang="zh-CN" altLang="en-US" sz="4200" b="1">
                <a:solidFill>
                  <a:schemeClr val="bg1"/>
                </a:solidFill>
                <a:latin typeface="黑体" pitchFamily="49" charset="-122"/>
                <a:ea typeface="黑体" pitchFamily="49" charset="-122"/>
              </a:rPr>
              <a:t>代言品类</a:t>
            </a:r>
            <a:endParaRPr lang="en-US" altLang="zh-CN" sz="4200" b="1">
              <a:solidFill>
                <a:schemeClr val="bg1"/>
              </a:solidFill>
              <a:latin typeface="黑体" pitchFamily="49" charset="-122"/>
              <a:ea typeface="黑体" pitchFamily="49" charset="-122"/>
            </a:endParaRPr>
          </a:p>
        </p:txBody>
      </p:sp>
      <p:grpSp>
        <p:nvGrpSpPr>
          <p:cNvPr id="46083" name="组 19"/>
          <p:cNvGrpSpPr>
            <a:grpSpLocks/>
          </p:cNvGrpSpPr>
          <p:nvPr/>
        </p:nvGrpSpPr>
        <p:grpSpPr bwMode="auto">
          <a:xfrm>
            <a:off x="8455025" y="2012950"/>
            <a:ext cx="3263900" cy="4319588"/>
            <a:chOff x="307195" y="1611804"/>
            <a:chExt cx="2448000" cy="3234294"/>
          </a:xfrm>
        </p:grpSpPr>
        <p:pic>
          <p:nvPicPr>
            <p:cNvPr id="46090" name="图片 20"/>
            <p:cNvPicPr>
              <a:picLocks noChangeAspect="1"/>
            </p:cNvPicPr>
            <p:nvPr/>
          </p:nvPicPr>
          <p:blipFill>
            <a:blip r:embed="rId3"/>
            <a:srcRect/>
            <a:stretch>
              <a:fillRect/>
            </a:stretch>
          </p:blipFill>
          <p:spPr bwMode="auto">
            <a:xfrm>
              <a:off x="403825" y="1646474"/>
              <a:ext cx="2276065" cy="3060000"/>
            </a:xfrm>
            <a:prstGeom prst="rect">
              <a:avLst/>
            </a:prstGeom>
            <a:noFill/>
            <a:ln w="9525">
              <a:noFill/>
              <a:miter lim="800000"/>
              <a:headEnd/>
              <a:tailEnd/>
            </a:ln>
          </p:spPr>
        </p:pic>
        <p:pic>
          <p:nvPicPr>
            <p:cNvPr id="46091" name="图片 23"/>
            <p:cNvPicPr>
              <a:picLocks noChangeAspect="1"/>
            </p:cNvPicPr>
            <p:nvPr/>
          </p:nvPicPr>
          <p:blipFill>
            <a:blip r:embed="rId4"/>
            <a:srcRect/>
            <a:stretch>
              <a:fillRect/>
            </a:stretch>
          </p:blipFill>
          <p:spPr bwMode="auto">
            <a:xfrm>
              <a:off x="307195" y="1611804"/>
              <a:ext cx="2448000" cy="3234294"/>
            </a:xfrm>
            <a:prstGeom prst="rect">
              <a:avLst/>
            </a:prstGeom>
            <a:noFill/>
            <a:ln w="9525">
              <a:noFill/>
              <a:miter lim="800000"/>
              <a:headEnd/>
              <a:tailEnd/>
            </a:ln>
          </p:spPr>
        </p:pic>
      </p:grpSp>
      <p:grpSp>
        <p:nvGrpSpPr>
          <p:cNvPr id="46084" name="组 5"/>
          <p:cNvGrpSpPr>
            <a:grpSpLocks/>
          </p:cNvGrpSpPr>
          <p:nvPr/>
        </p:nvGrpSpPr>
        <p:grpSpPr bwMode="auto">
          <a:xfrm>
            <a:off x="4583113" y="2060575"/>
            <a:ext cx="3263900" cy="4313238"/>
            <a:chOff x="3440582" y="1545285"/>
            <a:chExt cx="2448272" cy="3234653"/>
          </a:xfrm>
        </p:grpSpPr>
        <p:pic>
          <p:nvPicPr>
            <p:cNvPr id="46088" name="图片 1"/>
            <p:cNvPicPr>
              <a:picLocks/>
            </p:cNvPicPr>
            <p:nvPr/>
          </p:nvPicPr>
          <p:blipFill>
            <a:blip r:embed="rId5"/>
            <a:srcRect/>
            <a:stretch>
              <a:fillRect/>
            </a:stretch>
          </p:blipFill>
          <p:spPr bwMode="auto">
            <a:xfrm>
              <a:off x="3566718" y="1704351"/>
              <a:ext cx="2196000" cy="2952000"/>
            </a:xfrm>
            <a:prstGeom prst="rect">
              <a:avLst/>
            </a:prstGeom>
            <a:noFill/>
            <a:ln w="9525">
              <a:noFill/>
              <a:miter lim="800000"/>
              <a:headEnd/>
              <a:tailEnd/>
            </a:ln>
          </p:spPr>
        </p:pic>
        <p:pic>
          <p:nvPicPr>
            <p:cNvPr id="46089" name="图片 11"/>
            <p:cNvPicPr>
              <a:picLocks noChangeAspect="1"/>
            </p:cNvPicPr>
            <p:nvPr/>
          </p:nvPicPr>
          <p:blipFill>
            <a:blip r:embed="rId6"/>
            <a:srcRect/>
            <a:stretch>
              <a:fillRect/>
            </a:stretch>
          </p:blipFill>
          <p:spPr bwMode="auto">
            <a:xfrm>
              <a:off x="3440582" y="1545285"/>
              <a:ext cx="2448272" cy="3234653"/>
            </a:xfrm>
            <a:prstGeom prst="rect">
              <a:avLst/>
            </a:prstGeom>
            <a:noFill/>
            <a:ln w="9525">
              <a:noFill/>
              <a:miter lim="800000"/>
              <a:headEnd/>
              <a:tailEnd/>
            </a:ln>
          </p:spPr>
        </p:pic>
      </p:grpSp>
      <p:grpSp>
        <p:nvGrpSpPr>
          <p:cNvPr id="46085" name="组 8"/>
          <p:cNvGrpSpPr>
            <a:grpSpLocks/>
          </p:cNvGrpSpPr>
          <p:nvPr/>
        </p:nvGrpSpPr>
        <p:grpSpPr bwMode="auto">
          <a:xfrm>
            <a:off x="717550" y="2057400"/>
            <a:ext cx="3265488" cy="4316413"/>
            <a:chOff x="534151" y="1511659"/>
            <a:chExt cx="2449594" cy="3236400"/>
          </a:xfrm>
        </p:grpSpPr>
        <p:pic>
          <p:nvPicPr>
            <p:cNvPr id="46086" name="图片 4"/>
            <p:cNvPicPr>
              <a:picLocks/>
            </p:cNvPicPr>
            <p:nvPr/>
          </p:nvPicPr>
          <p:blipFill>
            <a:blip r:embed="rId7"/>
            <a:srcRect/>
            <a:stretch>
              <a:fillRect/>
            </a:stretch>
          </p:blipFill>
          <p:spPr bwMode="auto">
            <a:xfrm>
              <a:off x="683568" y="1657823"/>
              <a:ext cx="2156400" cy="2952000"/>
            </a:xfrm>
            <a:prstGeom prst="rect">
              <a:avLst/>
            </a:prstGeom>
            <a:noFill/>
            <a:ln w="9525">
              <a:noFill/>
              <a:miter lim="800000"/>
              <a:headEnd/>
              <a:tailEnd/>
            </a:ln>
          </p:spPr>
        </p:pic>
        <p:pic>
          <p:nvPicPr>
            <p:cNvPr id="46087" name="图片 21"/>
            <p:cNvPicPr>
              <a:picLocks noChangeAspect="1"/>
            </p:cNvPicPr>
            <p:nvPr/>
          </p:nvPicPr>
          <p:blipFill>
            <a:blip r:embed="rId6"/>
            <a:srcRect/>
            <a:stretch>
              <a:fillRect/>
            </a:stretch>
          </p:blipFill>
          <p:spPr bwMode="auto">
            <a:xfrm>
              <a:off x="534151" y="1511659"/>
              <a:ext cx="2449594" cy="323640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直接连接符 1"/>
          <p:cNvCxnSpPr/>
          <p:nvPr/>
        </p:nvCxnSpPr>
        <p:spPr>
          <a:xfrm>
            <a:off x="1066800" y="2895600"/>
            <a:ext cx="100584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48130" name="图片 3"/>
          <p:cNvPicPr>
            <a:picLocks noChangeAspect="1"/>
          </p:cNvPicPr>
          <p:nvPr/>
        </p:nvPicPr>
        <p:blipFill>
          <a:blip r:embed="rId2"/>
          <a:srcRect/>
          <a:stretch>
            <a:fillRect/>
          </a:stretch>
        </p:blipFill>
        <p:spPr bwMode="auto">
          <a:xfrm>
            <a:off x="5367338" y="900113"/>
            <a:ext cx="1228725" cy="1239837"/>
          </a:xfrm>
          <a:prstGeom prst="rect">
            <a:avLst/>
          </a:prstGeom>
          <a:noFill/>
          <a:ln w="9525">
            <a:noFill/>
            <a:miter lim="800000"/>
            <a:headEnd/>
            <a:tailEnd/>
          </a:ln>
        </p:spPr>
      </p:pic>
      <p:sp>
        <p:nvSpPr>
          <p:cNvPr id="48131" name="文本框 4"/>
          <p:cNvSpPr txBox="1">
            <a:spLocks noChangeArrowheads="1"/>
          </p:cNvSpPr>
          <p:nvPr/>
        </p:nvSpPr>
        <p:spPr bwMode="auto">
          <a:xfrm>
            <a:off x="1828800" y="4038600"/>
            <a:ext cx="8534400" cy="752475"/>
          </a:xfrm>
          <a:prstGeom prst="rect">
            <a:avLst/>
          </a:prstGeom>
          <a:noFill/>
          <a:ln w="9525">
            <a:noFill/>
            <a:miter lim="800000"/>
            <a:headEnd/>
            <a:tailEnd/>
          </a:ln>
        </p:spPr>
        <p:txBody>
          <a:bodyPr lIns="91438" tIns="45719" rIns="91438" bIns="45719">
            <a:spAutoFit/>
          </a:bodyPr>
          <a:lstStyle/>
          <a:p>
            <a:pPr algn="ctr" defTabSz="966788">
              <a:lnSpc>
                <a:spcPct val="130000"/>
              </a:lnSpc>
            </a:pPr>
            <a:r>
              <a:rPr lang="zh-CN" altLang="en-US" sz="3300" b="1">
                <a:solidFill>
                  <a:srgbClr val="404040"/>
                </a:solidFill>
                <a:latin typeface="微软雅黑" pitchFamily="34" charset="-122"/>
                <a:ea typeface="微软雅黑" pitchFamily="34" charset="-122"/>
              </a:rPr>
              <a:t>下注电梯媒体，从屈居第三，到遥遥领先</a:t>
            </a:r>
          </a:p>
        </p:txBody>
      </p:sp>
      <p:sp>
        <p:nvSpPr>
          <p:cNvPr id="6" name="矩形 5"/>
          <p:cNvSpPr/>
          <p:nvPr/>
        </p:nvSpPr>
        <p:spPr>
          <a:xfrm>
            <a:off x="4114800" y="2590800"/>
            <a:ext cx="3733800" cy="5334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defTabSz="967686">
              <a:lnSpc>
                <a:spcPct val="130000"/>
              </a:lnSpc>
              <a:defRPr/>
            </a:pPr>
            <a:r>
              <a:rPr lang="zh-CN" altLang="en-US" sz="2900" b="1" dirty="0">
                <a:solidFill>
                  <a:prstClr val="white"/>
                </a:solidFill>
                <a:latin typeface="微软雅黑" panose="020B0503020204020204" pitchFamily="34" charset="-122"/>
              </a:rPr>
              <a:t>占据新</a:t>
            </a:r>
            <a:r>
              <a:rPr lang="zh-CN" altLang="en-US" sz="2900" b="1" dirty="0">
                <a:solidFill>
                  <a:prstClr val="white"/>
                </a:solidFill>
                <a:latin typeface="微软雅黑" panose="020B0503020204020204" pitchFamily="34" charset="-122"/>
              </a:rPr>
              <a:t>品类</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标题 1"/>
          <p:cNvSpPr>
            <a:spLocks noGrp="1"/>
          </p:cNvSpPr>
          <p:nvPr>
            <p:ph type="title"/>
          </p:nvPr>
        </p:nvSpPr>
        <p:spPr bwMode="auto">
          <a:xfrm>
            <a:off x="431800" y="280988"/>
            <a:ext cx="10367963" cy="1143000"/>
          </a:xfrm>
          <a:noFill/>
          <a:ln>
            <a:miter lim="800000"/>
            <a:headEnd/>
            <a:tailEnd/>
          </a:ln>
        </p:spPr>
        <p:txBody>
          <a:bodyPr vert="horz" wrap="square" lIns="121917" tIns="60958" rIns="121917" bIns="60958" numCol="1" anchor="t" anchorCtr="0" compatLnSpc="1">
            <a:prstTxWarp prst="textNoShape">
              <a:avLst/>
            </a:prstTxWarp>
          </a:bodyPr>
          <a:lstStyle/>
          <a:p>
            <a:r>
              <a:rPr lang="zh-CN" altLang="en-US" sz="3700" smtClean="0"/>
              <a:t>神州租车面临的困境</a:t>
            </a:r>
            <a:r>
              <a:rPr lang="en-US" altLang="zh-CN" sz="3700" smtClean="0"/>
              <a:t>——</a:t>
            </a:r>
            <a:r>
              <a:rPr lang="zh-CN" altLang="en-US" sz="3700" smtClean="0"/>
              <a:t>开局不利</a:t>
            </a:r>
          </a:p>
        </p:txBody>
      </p:sp>
      <p:sp>
        <p:nvSpPr>
          <p:cNvPr id="3" name="文本框 2"/>
          <p:cNvSpPr txBox="1"/>
          <p:nvPr/>
        </p:nvSpPr>
        <p:spPr>
          <a:xfrm>
            <a:off x="4800600" y="1501775"/>
            <a:ext cx="6248400" cy="4633913"/>
          </a:xfrm>
          <a:prstGeom prst="rect">
            <a:avLst/>
          </a:prstGeom>
          <a:noFill/>
        </p:spPr>
        <p:txBody>
          <a:bodyPr lIns="91438" tIns="45719" rIns="91438" bIns="45719">
            <a:spAutoFit/>
          </a:bodyPr>
          <a:lstStyle/>
          <a:p>
            <a:pPr defTabSz="967686">
              <a:lnSpc>
                <a:spcPct val="130000"/>
              </a:lnSpc>
              <a:defRPr/>
            </a:pPr>
            <a:r>
              <a:rPr lang="en-US" altLang="zh-CN" sz="2500" b="1" dirty="0">
                <a:solidFill>
                  <a:prstClr val="black">
                    <a:lumMod val="85000"/>
                    <a:lumOff val="15000"/>
                  </a:prstClr>
                </a:solidFill>
                <a:latin typeface="微软雅黑" panose="020B0503020204020204" pitchFamily="34" charset="-122"/>
                <a:ea typeface="微软雅黑" panose="020B0503020204020204" pitchFamily="34" charset="-122"/>
              </a:rPr>
              <a:t>1. </a:t>
            </a:r>
            <a:r>
              <a:rPr lang="zh-CN" altLang="en-US" sz="2500" b="1" dirty="0">
                <a:solidFill>
                  <a:prstClr val="black">
                    <a:lumMod val="85000"/>
                    <a:lumOff val="15000"/>
                  </a:prstClr>
                </a:solidFill>
                <a:latin typeface="微软雅黑" panose="020B0503020204020204" pitchFamily="34" charset="-122"/>
                <a:ea typeface="微软雅黑" panose="020B0503020204020204" pitchFamily="34" charset="-122"/>
              </a:rPr>
              <a:t>起步缓慢</a:t>
            </a:r>
            <a:endParaRPr lang="en-US" altLang="zh-CN" sz="2500" b="1" dirty="0">
              <a:solidFill>
                <a:prstClr val="black">
                  <a:lumMod val="85000"/>
                  <a:lumOff val="15000"/>
                </a:prstClr>
              </a:solidFill>
              <a:latin typeface="微软雅黑" panose="020B0503020204020204" pitchFamily="34" charset="-122"/>
              <a:ea typeface="微软雅黑" panose="020B0503020204020204" pitchFamily="34" charset="-122"/>
            </a:endParaRPr>
          </a:p>
          <a:p>
            <a:pPr indent="379683" defTabSz="967686">
              <a:lnSpc>
                <a:spcPct val="130000"/>
              </a:lnSpc>
              <a:defRPr/>
            </a:pPr>
            <a:r>
              <a:rPr lang="en-US" altLang="zh-CN" sz="1900" dirty="0">
                <a:solidFill>
                  <a:prstClr val="black">
                    <a:lumMod val="85000"/>
                    <a:lumOff val="15000"/>
                  </a:prstClr>
                </a:solidFill>
                <a:latin typeface="微软雅黑" panose="020B0503020204020204" pitchFamily="34" charset="-122"/>
                <a:ea typeface="微软雅黑" panose="020B0503020204020204" pitchFamily="34" charset="-122"/>
              </a:rPr>
              <a:t>2009</a:t>
            </a:r>
            <a:r>
              <a:rPr lang="zh-CN" altLang="en-US" sz="1900" dirty="0">
                <a:solidFill>
                  <a:prstClr val="black">
                    <a:lumMod val="85000"/>
                    <a:lumOff val="15000"/>
                  </a:prstClr>
                </a:solidFill>
                <a:latin typeface="微软雅黑" panose="020B0503020204020204" pitchFamily="34" charset="-122"/>
                <a:ea typeface="微软雅黑" panose="020B0503020204020204" pitchFamily="34" charset="-122"/>
              </a:rPr>
              <a:t>年，中国租车业发展之初，受国内经济条件制约和传统“面子”消费观的影响，租车行业起步缓慢。</a:t>
            </a:r>
            <a:endParaRPr lang="en-US" altLang="zh-CN" sz="1900" dirty="0">
              <a:solidFill>
                <a:prstClr val="black">
                  <a:lumMod val="85000"/>
                  <a:lumOff val="15000"/>
                </a:prstClr>
              </a:solidFill>
              <a:latin typeface="微软雅黑" panose="020B0503020204020204" pitchFamily="34" charset="-122"/>
              <a:ea typeface="微软雅黑" panose="020B0503020204020204" pitchFamily="34" charset="-122"/>
            </a:endParaRPr>
          </a:p>
          <a:p>
            <a:pPr defTabSz="967686">
              <a:lnSpc>
                <a:spcPct val="130000"/>
              </a:lnSpc>
              <a:defRPr/>
            </a:pPr>
            <a:endParaRPr lang="en-US" altLang="zh-CN" sz="1900" dirty="0">
              <a:solidFill>
                <a:prstClr val="black">
                  <a:lumMod val="85000"/>
                  <a:lumOff val="15000"/>
                </a:prstClr>
              </a:solidFill>
              <a:latin typeface="微软雅黑" panose="020B0503020204020204" pitchFamily="34" charset="-122"/>
              <a:ea typeface="微软雅黑" panose="020B0503020204020204" pitchFamily="34" charset="-122"/>
            </a:endParaRPr>
          </a:p>
          <a:p>
            <a:pPr defTabSz="967686">
              <a:lnSpc>
                <a:spcPct val="130000"/>
              </a:lnSpc>
              <a:defRPr/>
            </a:pPr>
            <a:r>
              <a:rPr lang="en-US" altLang="zh-CN" sz="2500" b="1" dirty="0">
                <a:solidFill>
                  <a:prstClr val="black">
                    <a:lumMod val="85000"/>
                    <a:lumOff val="15000"/>
                  </a:prstClr>
                </a:solidFill>
                <a:latin typeface="微软雅黑" panose="020B0503020204020204" pitchFamily="34" charset="-122"/>
                <a:ea typeface="微软雅黑" panose="020B0503020204020204" pitchFamily="34" charset="-122"/>
              </a:rPr>
              <a:t>2. </a:t>
            </a:r>
            <a:r>
              <a:rPr lang="zh-CN" altLang="en-US" sz="2500" b="1" dirty="0">
                <a:solidFill>
                  <a:prstClr val="black">
                    <a:lumMod val="85000"/>
                    <a:lumOff val="15000"/>
                  </a:prstClr>
                </a:solidFill>
                <a:latin typeface="微软雅黑" panose="020B0503020204020204" pitchFamily="34" charset="-122"/>
                <a:ea typeface="微软雅黑" panose="020B0503020204020204" pitchFamily="34" charset="-122"/>
              </a:rPr>
              <a:t>竞争落后</a:t>
            </a:r>
            <a:endParaRPr lang="en-US" altLang="zh-CN" sz="2500" b="1" dirty="0">
              <a:solidFill>
                <a:prstClr val="black">
                  <a:lumMod val="85000"/>
                  <a:lumOff val="15000"/>
                </a:prstClr>
              </a:solidFill>
              <a:latin typeface="微软雅黑" panose="020B0503020204020204" pitchFamily="34" charset="-122"/>
              <a:ea typeface="微软雅黑" panose="020B0503020204020204" pitchFamily="34" charset="-122"/>
            </a:endParaRPr>
          </a:p>
          <a:p>
            <a:pPr indent="379683" defTabSz="967686">
              <a:lnSpc>
                <a:spcPct val="130000"/>
              </a:lnSpc>
              <a:defRPr/>
            </a:pPr>
            <a:r>
              <a:rPr lang="zh-CN" altLang="en-US" sz="1900" dirty="0">
                <a:solidFill>
                  <a:prstClr val="black">
                    <a:lumMod val="85000"/>
                    <a:lumOff val="15000"/>
                  </a:prstClr>
                </a:solidFill>
                <a:latin typeface="微软雅黑" panose="020B0503020204020204" pitchFamily="34" charset="-122"/>
                <a:ea typeface="微软雅黑" panose="020B0503020204020204" pitchFamily="34" charset="-122"/>
              </a:rPr>
              <a:t>同年，一嗨租车拥有</a:t>
            </a:r>
            <a:r>
              <a:rPr lang="en-US" altLang="zh-CN" sz="1900" dirty="0">
                <a:solidFill>
                  <a:prstClr val="black">
                    <a:lumMod val="85000"/>
                    <a:lumOff val="15000"/>
                  </a:prstClr>
                </a:solidFill>
                <a:latin typeface="微软雅黑" panose="020B0503020204020204" pitchFamily="34" charset="-122"/>
                <a:ea typeface="微软雅黑" panose="020B0503020204020204" pitchFamily="34" charset="-122"/>
              </a:rPr>
              <a:t>1200</a:t>
            </a:r>
            <a:r>
              <a:rPr lang="zh-CN" altLang="en-US" sz="1900" dirty="0">
                <a:solidFill>
                  <a:prstClr val="black">
                    <a:lumMod val="85000"/>
                    <a:lumOff val="15000"/>
                  </a:prstClr>
                </a:solidFill>
                <a:latin typeface="微软雅黑" panose="020B0503020204020204" pitchFamily="34" charset="-122"/>
                <a:ea typeface="微软雅黑" panose="020B0503020204020204" pitchFamily="34" charset="-122"/>
              </a:rPr>
              <a:t>辆汽车，至尊租车拥有</a:t>
            </a:r>
            <a:r>
              <a:rPr lang="en-US" altLang="zh-CN" sz="1900" dirty="0">
                <a:solidFill>
                  <a:prstClr val="black">
                    <a:lumMod val="85000"/>
                    <a:lumOff val="15000"/>
                  </a:prstClr>
                </a:solidFill>
                <a:latin typeface="微软雅黑" panose="020B0503020204020204" pitchFamily="34" charset="-122"/>
                <a:ea typeface="微软雅黑" panose="020B0503020204020204" pitchFamily="34" charset="-122"/>
              </a:rPr>
              <a:t>1000</a:t>
            </a:r>
            <a:r>
              <a:rPr lang="zh-CN" altLang="en-US" sz="1900" dirty="0">
                <a:solidFill>
                  <a:prstClr val="black">
                    <a:lumMod val="85000"/>
                    <a:lumOff val="15000"/>
                  </a:prstClr>
                </a:solidFill>
                <a:latin typeface="微软雅黑" panose="020B0503020204020204" pitchFamily="34" charset="-122"/>
                <a:ea typeface="微软雅黑" panose="020B0503020204020204" pitchFamily="34" charset="-122"/>
              </a:rPr>
              <a:t>辆汽车，神州租车仅有</a:t>
            </a:r>
            <a:r>
              <a:rPr lang="en-US" altLang="zh-CN" sz="1900" dirty="0">
                <a:solidFill>
                  <a:prstClr val="black">
                    <a:lumMod val="85000"/>
                    <a:lumOff val="15000"/>
                  </a:prstClr>
                </a:solidFill>
                <a:latin typeface="微软雅黑" panose="020B0503020204020204" pitchFamily="34" charset="-122"/>
                <a:ea typeface="微软雅黑" panose="020B0503020204020204" pitchFamily="34" charset="-122"/>
              </a:rPr>
              <a:t>600</a:t>
            </a:r>
            <a:r>
              <a:rPr lang="zh-CN" altLang="en-US" sz="1900" dirty="0">
                <a:solidFill>
                  <a:prstClr val="black">
                    <a:lumMod val="85000"/>
                    <a:lumOff val="15000"/>
                  </a:prstClr>
                </a:solidFill>
                <a:latin typeface="微软雅黑" panose="020B0503020204020204" pitchFamily="34" charset="-122"/>
                <a:ea typeface="微软雅黑" panose="020B0503020204020204" pitchFamily="34" charset="-122"/>
              </a:rPr>
              <a:t>辆汽车。</a:t>
            </a:r>
            <a:endParaRPr lang="en-US" altLang="zh-CN" sz="1900" dirty="0">
              <a:solidFill>
                <a:prstClr val="black">
                  <a:lumMod val="85000"/>
                  <a:lumOff val="15000"/>
                </a:prstClr>
              </a:solidFill>
              <a:latin typeface="微软雅黑" panose="020B0503020204020204" pitchFamily="34" charset="-122"/>
              <a:ea typeface="微软雅黑" panose="020B0503020204020204" pitchFamily="34" charset="-122"/>
            </a:endParaRPr>
          </a:p>
          <a:p>
            <a:pPr defTabSz="967686">
              <a:lnSpc>
                <a:spcPct val="130000"/>
              </a:lnSpc>
              <a:defRPr/>
            </a:pPr>
            <a:endParaRPr lang="en-US" altLang="zh-CN" sz="1900" dirty="0">
              <a:solidFill>
                <a:prstClr val="black">
                  <a:lumMod val="85000"/>
                  <a:lumOff val="15000"/>
                </a:prstClr>
              </a:solidFill>
              <a:latin typeface="微软雅黑" panose="020B0503020204020204" pitchFamily="34" charset="-122"/>
              <a:ea typeface="微软雅黑" panose="020B0503020204020204" pitchFamily="34" charset="-122"/>
            </a:endParaRPr>
          </a:p>
          <a:p>
            <a:pPr defTabSz="967686">
              <a:lnSpc>
                <a:spcPct val="130000"/>
              </a:lnSpc>
              <a:defRPr/>
            </a:pPr>
            <a:r>
              <a:rPr lang="en-US" altLang="zh-CN" sz="2500" b="1" dirty="0">
                <a:solidFill>
                  <a:prstClr val="black">
                    <a:lumMod val="85000"/>
                    <a:lumOff val="15000"/>
                  </a:prstClr>
                </a:solidFill>
                <a:latin typeface="微软雅黑" panose="020B0503020204020204" pitchFamily="34" charset="-122"/>
                <a:ea typeface="微软雅黑" panose="020B0503020204020204" pitchFamily="34" charset="-122"/>
              </a:rPr>
              <a:t>3. </a:t>
            </a:r>
            <a:r>
              <a:rPr lang="zh-CN" altLang="en-US" sz="2500" b="1" dirty="0">
                <a:solidFill>
                  <a:prstClr val="black">
                    <a:lumMod val="85000"/>
                    <a:lumOff val="15000"/>
                  </a:prstClr>
                </a:solidFill>
                <a:latin typeface="微软雅黑" panose="020B0503020204020204" pitchFamily="34" charset="-122"/>
                <a:ea typeface="微软雅黑" panose="020B0503020204020204" pitchFamily="34" charset="-122"/>
              </a:rPr>
              <a:t>资金匮乏</a:t>
            </a:r>
            <a:endParaRPr lang="en-US" altLang="zh-CN" sz="2500" b="1" dirty="0">
              <a:solidFill>
                <a:prstClr val="black">
                  <a:lumMod val="85000"/>
                  <a:lumOff val="15000"/>
                </a:prstClr>
              </a:solidFill>
              <a:latin typeface="微软雅黑" panose="020B0503020204020204" pitchFamily="34" charset="-122"/>
              <a:ea typeface="微软雅黑" panose="020B0503020204020204" pitchFamily="34" charset="-122"/>
            </a:endParaRPr>
          </a:p>
          <a:p>
            <a:pPr indent="379683" defTabSz="967686">
              <a:lnSpc>
                <a:spcPct val="130000"/>
              </a:lnSpc>
              <a:defRPr/>
            </a:pPr>
            <a:r>
              <a:rPr lang="zh-CN" altLang="en-US" sz="1900" dirty="0">
                <a:solidFill>
                  <a:prstClr val="black">
                    <a:lumMod val="85000"/>
                    <a:lumOff val="15000"/>
                  </a:prstClr>
                </a:solidFill>
                <a:latin typeface="微软雅黑" panose="020B0503020204020204" pitchFamily="34" charset="-122"/>
                <a:ea typeface="微软雅黑" panose="020B0503020204020204" pitchFamily="34" charset="-122"/>
              </a:rPr>
              <a:t>神州租车仅有</a:t>
            </a:r>
            <a:r>
              <a:rPr lang="en-US" altLang="zh-CN" sz="1900" dirty="0">
                <a:solidFill>
                  <a:prstClr val="black">
                    <a:lumMod val="85000"/>
                    <a:lumOff val="15000"/>
                  </a:prstClr>
                </a:solidFill>
                <a:latin typeface="微软雅黑" panose="020B0503020204020204" pitchFamily="34" charset="-122"/>
                <a:ea typeface="微软雅黑" panose="020B0503020204020204" pitchFamily="34" charset="-122"/>
              </a:rPr>
              <a:t>8000</a:t>
            </a:r>
            <a:r>
              <a:rPr lang="zh-CN" altLang="en-US" sz="1900" dirty="0">
                <a:solidFill>
                  <a:prstClr val="black">
                    <a:lumMod val="85000"/>
                    <a:lumOff val="15000"/>
                  </a:prstClr>
                </a:solidFill>
                <a:latin typeface="微软雅黑" panose="020B0503020204020204" pitchFamily="34" charset="-122"/>
                <a:ea typeface="微软雅黑" panose="020B0503020204020204" pitchFamily="34" charset="-122"/>
              </a:rPr>
              <a:t>万广告预算，通过电视媒体，难以打造一个新品牌。</a:t>
            </a:r>
          </a:p>
        </p:txBody>
      </p:sp>
      <p:pic>
        <p:nvPicPr>
          <p:cNvPr id="49155" name="图片 3"/>
          <p:cNvPicPr>
            <a:picLocks noChangeAspect="1"/>
          </p:cNvPicPr>
          <p:nvPr/>
        </p:nvPicPr>
        <p:blipFill>
          <a:blip r:embed="rId2"/>
          <a:srcRect/>
          <a:stretch>
            <a:fillRect/>
          </a:stretch>
        </p:blipFill>
        <p:spPr bwMode="auto">
          <a:xfrm>
            <a:off x="1143000" y="2286000"/>
            <a:ext cx="3435350" cy="29289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标题 1"/>
          <p:cNvSpPr>
            <a:spLocks noGrp="1"/>
          </p:cNvSpPr>
          <p:nvPr>
            <p:ph type="title"/>
          </p:nvPr>
        </p:nvSpPr>
        <p:spPr bwMode="auto">
          <a:xfrm>
            <a:off x="609600" y="452438"/>
            <a:ext cx="10972800" cy="1143000"/>
          </a:xfrm>
          <a:noFill/>
          <a:ln>
            <a:miter lim="800000"/>
            <a:headEnd/>
            <a:tailEnd/>
          </a:ln>
        </p:spPr>
        <p:txBody>
          <a:bodyPr vert="horz" wrap="square" lIns="121917" tIns="60958" rIns="121917" bIns="60958" numCol="1" anchor="t" anchorCtr="0" compatLnSpc="1">
            <a:prstTxWarp prst="textNoShape">
              <a:avLst/>
            </a:prstTxWarp>
          </a:bodyPr>
          <a:lstStyle/>
          <a:p>
            <a:r>
              <a:rPr lang="zh-CN" altLang="en-US" sz="3700" smtClean="0"/>
              <a:t>定位目标人群，下注电梯媒体</a:t>
            </a:r>
          </a:p>
        </p:txBody>
      </p:sp>
      <p:sp>
        <p:nvSpPr>
          <p:cNvPr id="6" name="KSO_Shape"/>
          <p:cNvSpPr/>
          <p:nvPr/>
        </p:nvSpPr>
        <p:spPr>
          <a:xfrm>
            <a:off x="5599113" y="3506788"/>
            <a:ext cx="1008062" cy="911225"/>
          </a:xfrm>
          <a:custGeom>
            <a:avLst/>
            <a:gdLst>
              <a:gd name="connsiteX0" fmla="*/ 1909641 w 3259563"/>
              <a:gd name="connsiteY0" fmla="*/ 293210 h 2941871"/>
              <a:gd name="connsiteX1" fmla="*/ 3087365 w 3259563"/>
              <a:gd name="connsiteY1" fmla="*/ 1470936 h 2941871"/>
              <a:gd name="connsiteX2" fmla="*/ 1909641 w 3259563"/>
              <a:gd name="connsiteY2" fmla="*/ 2648659 h 2941871"/>
              <a:gd name="connsiteX3" fmla="*/ 1909641 w 3259563"/>
              <a:gd name="connsiteY3" fmla="*/ 2070825 h 2941871"/>
              <a:gd name="connsiteX4" fmla="*/ 130213 w 3259563"/>
              <a:gd name="connsiteY4" fmla="*/ 2070825 h 2941871"/>
              <a:gd name="connsiteX5" fmla="*/ 130213 w 3259563"/>
              <a:gd name="connsiteY5" fmla="*/ 871045 h 2941871"/>
              <a:gd name="connsiteX6" fmla="*/ 1909641 w 3259563"/>
              <a:gd name="connsiteY6" fmla="*/ 871045 h 2941871"/>
              <a:gd name="connsiteX7" fmla="*/ 1879687 w 3259563"/>
              <a:gd name="connsiteY7" fmla="*/ 220369 h 2941871"/>
              <a:gd name="connsiteX8" fmla="*/ 1879687 w 3259563"/>
              <a:gd name="connsiteY8" fmla="*/ 845652 h 2941871"/>
              <a:gd name="connsiteX9" fmla="*/ 105916 w 3259563"/>
              <a:gd name="connsiteY9" fmla="*/ 845652 h 2941871"/>
              <a:gd name="connsiteX10" fmla="*/ 105916 w 3259563"/>
              <a:gd name="connsiteY10" fmla="*/ 2096218 h 2941871"/>
              <a:gd name="connsiteX11" fmla="*/ 1879687 w 3259563"/>
              <a:gd name="connsiteY11" fmla="*/ 2096218 h 2941871"/>
              <a:gd name="connsiteX12" fmla="*/ 1879687 w 3259563"/>
              <a:gd name="connsiteY12" fmla="*/ 2721501 h 2941871"/>
              <a:gd name="connsiteX13" fmla="*/ 3130252 w 3259563"/>
              <a:gd name="connsiteY13" fmla="*/ 1470936 h 2941871"/>
              <a:gd name="connsiteX14" fmla="*/ 1788628 w 3259563"/>
              <a:gd name="connsiteY14" fmla="*/ 0 h 2941871"/>
              <a:gd name="connsiteX15" fmla="*/ 3259563 w 3259563"/>
              <a:gd name="connsiteY15" fmla="*/ 1470936 h 2941871"/>
              <a:gd name="connsiteX16" fmla="*/ 1788628 w 3259563"/>
              <a:gd name="connsiteY16" fmla="*/ 2941871 h 2941871"/>
              <a:gd name="connsiteX17" fmla="*/ 1788628 w 3259563"/>
              <a:gd name="connsiteY17" fmla="*/ 2206403 h 2941871"/>
              <a:gd name="connsiteX18" fmla="*/ 0 w 3259563"/>
              <a:gd name="connsiteY18" fmla="*/ 2206403 h 2941871"/>
              <a:gd name="connsiteX19" fmla="*/ 0 w 3259563"/>
              <a:gd name="connsiteY19" fmla="*/ 735468 h 2941871"/>
              <a:gd name="connsiteX20" fmla="*/ 1788628 w 3259563"/>
              <a:gd name="connsiteY20" fmla="*/ 735468 h 2941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59563" h="2941871">
                <a:moveTo>
                  <a:pt x="1909641" y="293210"/>
                </a:moveTo>
                <a:lnTo>
                  <a:pt x="3087365" y="1470936"/>
                </a:lnTo>
                <a:lnTo>
                  <a:pt x="1909641" y="2648659"/>
                </a:lnTo>
                <a:lnTo>
                  <a:pt x="1909641" y="2070825"/>
                </a:lnTo>
                <a:lnTo>
                  <a:pt x="130213" y="2070825"/>
                </a:lnTo>
                <a:lnTo>
                  <a:pt x="130213" y="871045"/>
                </a:lnTo>
                <a:lnTo>
                  <a:pt x="1909641" y="871045"/>
                </a:lnTo>
                <a:close/>
                <a:moveTo>
                  <a:pt x="1879687" y="220369"/>
                </a:moveTo>
                <a:lnTo>
                  <a:pt x="1879687" y="845652"/>
                </a:lnTo>
                <a:lnTo>
                  <a:pt x="105916" y="845652"/>
                </a:lnTo>
                <a:lnTo>
                  <a:pt x="105916" y="2096218"/>
                </a:lnTo>
                <a:lnTo>
                  <a:pt x="1879687" y="2096218"/>
                </a:lnTo>
                <a:lnTo>
                  <a:pt x="1879687" y="2721501"/>
                </a:lnTo>
                <a:lnTo>
                  <a:pt x="3130252" y="1470936"/>
                </a:lnTo>
                <a:close/>
                <a:moveTo>
                  <a:pt x="1788628" y="0"/>
                </a:moveTo>
                <a:lnTo>
                  <a:pt x="3259563" y="1470936"/>
                </a:lnTo>
                <a:lnTo>
                  <a:pt x="1788628" y="2941871"/>
                </a:lnTo>
                <a:lnTo>
                  <a:pt x="1788628" y="2206403"/>
                </a:lnTo>
                <a:lnTo>
                  <a:pt x="0" y="2206403"/>
                </a:lnTo>
                <a:lnTo>
                  <a:pt x="0" y="735468"/>
                </a:lnTo>
                <a:lnTo>
                  <a:pt x="1788628" y="735468"/>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67686" eaLnBrk="1" fontAlgn="auto" hangingPunct="1">
              <a:lnSpc>
                <a:spcPct val="130000"/>
              </a:lnSpc>
              <a:spcBef>
                <a:spcPts val="0"/>
              </a:spcBef>
              <a:spcAft>
                <a:spcPts val="0"/>
              </a:spcAft>
              <a:defRPr/>
            </a:pPr>
            <a:endParaRPr lang="zh-CN" altLang="en-US" sz="2900" b="1" dirty="0">
              <a:solidFill>
                <a:srgbClr val="FFFFFF"/>
              </a:solidFill>
            </a:endParaRPr>
          </a:p>
        </p:txBody>
      </p:sp>
      <p:sp>
        <p:nvSpPr>
          <p:cNvPr id="7" name="文本框 6"/>
          <p:cNvSpPr txBox="1"/>
          <p:nvPr/>
        </p:nvSpPr>
        <p:spPr>
          <a:xfrm>
            <a:off x="1371600" y="2244725"/>
            <a:ext cx="3906838" cy="471488"/>
          </a:xfrm>
          <a:prstGeom prst="rect">
            <a:avLst/>
          </a:prstGeom>
          <a:solidFill>
            <a:schemeClr val="tx1">
              <a:lumMod val="75000"/>
              <a:lumOff val="25000"/>
            </a:schemeClr>
          </a:solidFill>
        </p:spPr>
        <p:txBody>
          <a:bodyPr lIns="91438" tIns="45719" rIns="91438" bIns="45719">
            <a:spAutoFit/>
          </a:bodyPr>
          <a:lstStyle/>
          <a:p>
            <a:pPr algn="ctr" defTabSz="967686">
              <a:lnSpc>
                <a:spcPct val="130000"/>
              </a:lnSpc>
              <a:defRPr/>
            </a:pPr>
            <a:r>
              <a:rPr lang="en-US" altLang="zh-CN" sz="1900" dirty="0">
                <a:solidFill>
                  <a:prstClr val="white"/>
                </a:solidFill>
                <a:latin typeface="微软雅黑" panose="020B0503020204020204" pitchFamily="34" charset="-122"/>
                <a:ea typeface="微软雅黑" panose="020B0503020204020204" pitchFamily="34" charset="-122"/>
              </a:rPr>
              <a:t>2010</a:t>
            </a:r>
            <a:r>
              <a:rPr lang="zh-CN" altLang="en-US" sz="1900" dirty="0">
                <a:solidFill>
                  <a:prstClr val="white"/>
                </a:solidFill>
                <a:latin typeface="微软雅黑" panose="020B0503020204020204" pitchFamily="34" charset="-122"/>
                <a:ea typeface="微软雅黑" panose="020B0503020204020204" pitchFamily="34" charset="-122"/>
              </a:rPr>
              <a:t>年神州租车原定媒介投放组合</a:t>
            </a:r>
          </a:p>
        </p:txBody>
      </p:sp>
      <p:sp>
        <p:nvSpPr>
          <p:cNvPr id="8" name="文本框 7"/>
          <p:cNvSpPr txBox="1"/>
          <p:nvPr/>
        </p:nvSpPr>
        <p:spPr>
          <a:xfrm>
            <a:off x="7183438" y="2244725"/>
            <a:ext cx="3905250" cy="471488"/>
          </a:xfrm>
          <a:prstGeom prst="rect">
            <a:avLst/>
          </a:prstGeom>
          <a:solidFill>
            <a:schemeClr val="tx1">
              <a:lumMod val="75000"/>
              <a:lumOff val="25000"/>
            </a:schemeClr>
          </a:solidFill>
        </p:spPr>
        <p:txBody>
          <a:bodyPr lIns="91438" tIns="45719" rIns="91438" bIns="45719">
            <a:spAutoFit/>
          </a:bodyPr>
          <a:lstStyle/>
          <a:p>
            <a:pPr algn="ctr" defTabSz="967686">
              <a:lnSpc>
                <a:spcPct val="130000"/>
              </a:lnSpc>
              <a:defRPr/>
            </a:pPr>
            <a:r>
              <a:rPr lang="en-US" altLang="zh-CN" sz="1900" dirty="0">
                <a:solidFill>
                  <a:prstClr val="white"/>
                </a:solidFill>
                <a:latin typeface="微软雅黑" panose="020B0503020204020204" pitchFamily="34" charset="-122"/>
                <a:ea typeface="微软雅黑" panose="020B0503020204020204" pitchFamily="34" charset="-122"/>
              </a:rPr>
              <a:t>2010</a:t>
            </a:r>
            <a:r>
              <a:rPr lang="zh-CN" altLang="en-US" sz="1900" dirty="0">
                <a:solidFill>
                  <a:prstClr val="white"/>
                </a:solidFill>
                <a:latin typeface="微软雅黑" panose="020B0503020204020204" pitchFamily="34" charset="-122"/>
                <a:ea typeface="微软雅黑" panose="020B0503020204020204" pitchFamily="34" charset="-122"/>
              </a:rPr>
              <a:t>年神州租车最终投放媒介组合</a:t>
            </a:r>
          </a:p>
        </p:txBody>
      </p:sp>
      <p:graphicFrame>
        <p:nvGraphicFramePr>
          <p:cNvPr id="50181" name="图表 12"/>
          <p:cNvGraphicFramePr>
            <a:graphicFrameLocks/>
          </p:cNvGraphicFramePr>
          <p:nvPr/>
        </p:nvGraphicFramePr>
        <p:xfrm>
          <a:off x="7132638" y="2635250"/>
          <a:ext cx="4622800" cy="3159125"/>
        </p:xfrm>
        <a:graphic>
          <a:graphicData uri="http://schemas.openxmlformats.org/presentationml/2006/ole">
            <p:oleObj spid="_x0000_s50181" r:id="rId3" imgW="4621169" imgH="3164098" progId="Excel.Chart.8">
              <p:embed/>
            </p:oleObj>
          </a:graphicData>
        </a:graphic>
      </p:graphicFrame>
      <p:graphicFrame>
        <p:nvGraphicFramePr>
          <p:cNvPr id="50182" name="图表 13"/>
          <p:cNvGraphicFramePr>
            <a:graphicFrameLocks/>
          </p:cNvGraphicFramePr>
          <p:nvPr/>
        </p:nvGraphicFramePr>
        <p:xfrm>
          <a:off x="581025" y="2635250"/>
          <a:ext cx="4648200" cy="3159125"/>
        </p:xfrm>
        <a:graphic>
          <a:graphicData uri="http://schemas.openxmlformats.org/presentationml/2006/ole">
            <p:oleObj spid="_x0000_s50182" r:id="rId4" imgW="4651651" imgH="3164098" progId="Excel.Chart.8">
              <p:embed/>
            </p:oleObj>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00" name="标题 1"/>
          <p:cNvSpPr>
            <a:spLocks noGrp="1"/>
          </p:cNvSpPr>
          <p:nvPr>
            <p:ph type="title"/>
          </p:nvPr>
        </p:nvSpPr>
        <p:spPr bwMode="auto">
          <a:xfrm>
            <a:off x="431800" y="280988"/>
            <a:ext cx="10367963" cy="1143000"/>
          </a:xfrm>
          <a:noFill/>
          <a:ln>
            <a:miter lim="800000"/>
            <a:headEnd/>
            <a:tailEnd/>
          </a:ln>
        </p:spPr>
        <p:txBody>
          <a:bodyPr vert="horz" wrap="square" lIns="121917" tIns="60958" rIns="121917" bIns="60958" numCol="1" anchor="t" anchorCtr="0" compatLnSpc="1">
            <a:prstTxWarp prst="textNoShape">
              <a:avLst/>
            </a:prstTxWarp>
          </a:bodyPr>
          <a:lstStyle/>
          <a:p>
            <a:r>
              <a:rPr lang="zh-CN" altLang="en-US" sz="4300" smtClean="0"/>
              <a:t>广告投放后，半年反超对手</a:t>
            </a:r>
          </a:p>
        </p:txBody>
      </p:sp>
      <p:sp>
        <p:nvSpPr>
          <p:cNvPr id="9301" name="文本框 2"/>
          <p:cNvSpPr txBox="1">
            <a:spLocks noChangeArrowheads="1"/>
          </p:cNvSpPr>
          <p:nvPr/>
        </p:nvSpPr>
        <p:spPr bwMode="auto">
          <a:xfrm>
            <a:off x="1038225" y="1371600"/>
            <a:ext cx="10288588" cy="1992313"/>
          </a:xfrm>
          <a:prstGeom prst="rect">
            <a:avLst/>
          </a:prstGeom>
          <a:noFill/>
          <a:ln w="9525">
            <a:noFill/>
            <a:miter lim="800000"/>
            <a:headEnd/>
            <a:tailEnd/>
          </a:ln>
        </p:spPr>
        <p:txBody>
          <a:bodyPr lIns="91438" tIns="45719" rIns="91438" bIns="45719">
            <a:spAutoFit/>
          </a:bodyPr>
          <a:lstStyle/>
          <a:p>
            <a:pPr defTabSz="966788">
              <a:lnSpc>
                <a:spcPct val="130000"/>
              </a:lnSpc>
            </a:pPr>
            <a:r>
              <a:rPr lang="en-US" altLang="zh-CN" sz="1900">
                <a:solidFill>
                  <a:srgbClr val="262626"/>
                </a:solidFill>
                <a:latin typeface="微软雅黑" pitchFamily="34" charset="-122"/>
                <a:ea typeface="微软雅黑" pitchFamily="34" charset="-122"/>
              </a:rPr>
              <a:t>2010</a:t>
            </a:r>
            <a:r>
              <a:rPr lang="zh-CN" altLang="en-US" sz="1900">
                <a:solidFill>
                  <a:srgbClr val="262626"/>
                </a:solidFill>
                <a:latin typeface="微软雅黑" pitchFamily="34" charset="-122"/>
                <a:ea typeface="微软雅黑" pitchFamily="34" charset="-122"/>
              </a:rPr>
              <a:t>年</a:t>
            </a:r>
            <a:r>
              <a:rPr lang="en-US" altLang="zh-CN" sz="1900">
                <a:solidFill>
                  <a:srgbClr val="262626"/>
                </a:solidFill>
                <a:latin typeface="微软雅黑" pitchFamily="34" charset="-122"/>
                <a:ea typeface="微软雅黑" pitchFamily="34" charset="-122"/>
              </a:rPr>
              <a:t>8</a:t>
            </a:r>
            <a:r>
              <a:rPr lang="zh-CN" altLang="en-US" sz="1900">
                <a:solidFill>
                  <a:srgbClr val="262626"/>
                </a:solidFill>
                <a:latin typeface="微软雅黑" pitchFamily="34" charset="-122"/>
                <a:ea typeface="微软雅黑" pitchFamily="34" charset="-122"/>
              </a:rPr>
              <a:t>月</a:t>
            </a:r>
            <a:r>
              <a:rPr lang="en-US" altLang="zh-CN" sz="1900">
                <a:solidFill>
                  <a:srgbClr val="262626"/>
                </a:solidFill>
                <a:latin typeface="微软雅黑" pitchFamily="34" charset="-122"/>
                <a:ea typeface="微软雅黑" pitchFamily="34" charset="-122"/>
              </a:rPr>
              <a:t>-2011</a:t>
            </a:r>
            <a:r>
              <a:rPr lang="zh-CN" altLang="en-US" sz="1900">
                <a:solidFill>
                  <a:srgbClr val="262626"/>
                </a:solidFill>
                <a:latin typeface="微软雅黑" pitchFamily="34" charset="-122"/>
                <a:ea typeface="微软雅黑" pitchFamily="34" charset="-122"/>
              </a:rPr>
              <a:t>年</a:t>
            </a:r>
            <a:r>
              <a:rPr lang="en-US" altLang="zh-CN" sz="1900">
                <a:solidFill>
                  <a:srgbClr val="262626"/>
                </a:solidFill>
                <a:latin typeface="微软雅黑" pitchFamily="34" charset="-122"/>
                <a:ea typeface="微软雅黑" pitchFamily="34" charset="-122"/>
              </a:rPr>
              <a:t>3</a:t>
            </a:r>
            <a:r>
              <a:rPr lang="zh-CN" altLang="en-US" sz="1900">
                <a:solidFill>
                  <a:srgbClr val="262626"/>
                </a:solidFill>
                <a:latin typeface="微软雅黑" pitchFamily="34" charset="-122"/>
                <a:ea typeface="微软雅黑" pitchFamily="34" charset="-122"/>
              </a:rPr>
              <a:t>月广告投放期间：</a:t>
            </a:r>
            <a:endParaRPr lang="en-US" altLang="zh-CN" sz="1900">
              <a:solidFill>
                <a:srgbClr val="262626"/>
              </a:solidFill>
              <a:latin typeface="微软雅黑" pitchFamily="34" charset="-122"/>
              <a:ea typeface="微软雅黑" pitchFamily="34" charset="-122"/>
            </a:endParaRPr>
          </a:p>
          <a:p>
            <a:pPr marL="785813" lvl="1" indent="-301625" defTabSz="966788">
              <a:lnSpc>
                <a:spcPct val="130000"/>
              </a:lnSpc>
              <a:buFont typeface="Arial" charset="0"/>
              <a:buChar char="•"/>
            </a:pPr>
            <a:r>
              <a:rPr lang="zh-CN" altLang="en-US" sz="1900">
                <a:solidFill>
                  <a:srgbClr val="262626"/>
                </a:solidFill>
                <a:latin typeface="微软雅黑" pitchFamily="34" charset="-122"/>
                <a:ea typeface="微软雅黑" pitchFamily="34" charset="-122"/>
              </a:rPr>
              <a:t>业绩压倒竞争对手，销量每月环比增长超过</a:t>
            </a:r>
            <a:r>
              <a:rPr lang="en-US" altLang="zh-CN" sz="1900" b="1">
                <a:solidFill>
                  <a:srgbClr val="FF0000"/>
                </a:solidFill>
                <a:latin typeface="微软雅黑" pitchFamily="34" charset="-122"/>
                <a:ea typeface="微软雅黑" pitchFamily="34" charset="-122"/>
              </a:rPr>
              <a:t>100%</a:t>
            </a:r>
          </a:p>
          <a:p>
            <a:pPr marL="785813" lvl="1" indent="-301625" defTabSz="966788">
              <a:lnSpc>
                <a:spcPct val="130000"/>
              </a:lnSpc>
              <a:buFont typeface="Arial" charset="0"/>
              <a:buChar char="•"/>
            </a:pPr>
            <a:r>
              <a:rPr lang="zh-CN" altLang="en-US" sz="1900">
                <a:solidFill>
                  <a:srgbClr val="262626"/>
                </a:solidFill>
                <a:latin typeface="微软雅黑" pitchFamily="34" charset="-122"/>
                <a:ea typeface="微软雅黑" pitchFamily="34" charset="-122"/>
              </a:rPr>
              <a:t>汽车出租量超过</a:t>
            </a:r>
            <a:r>
              <a:rPr lang="en-US" altLang="zh-CN" sz="1900" b="1">
                <a:solidFill>
                  <a:srgbClr val="FF0000"/>
                </a:solidFill>
                <a:latin typeface="微软雅黑" pitchFamily="34" charset="-122"/>
                <a:ea typeface="微软雅黑" pitchFamily="34" charset="-122"/>
              </a:rPr>
              <a:t>80%</a:t>
            </a:r>
          </a:p>
          <a:p>
            <a:pPr marL="785813" lvl="1" indent="-301625" defTabSz="966788">
              <a:lnSpc>
                <a:spcPct val="130000"/>
              </a:lnSpc>
              <a:buFont typeface="Arial" charset="0"/>
              <a:buChar char="•"/>
            </a:pPr>
            <a:r>
              <a:rPr lang="zh-CN" altLang="en-US" sz="1900">
                <a:solidFill>
                  <a:srgbClr val="262626"/>
                </a:solidFill>
                <a:latin typeface="微软雅黑" pitchFamily="34" charset="-122"/>
                <a:ea typeface="微软雅黑" pitchFamily="34" charset="-122"/>
              </a:rPr>
              <a:t>电话呼入超过</a:t>
            </a:r>
            <a:r>
              <a:rPr lang="en-US" altLang="zh-CN" sz="1900" b="1">
                <a:solidFill>
                  <a:srgbClr val="FF0000"/>
                </a:solidFill>
                <a:latin typeface="微软雅黑" pitchFamily="34" charset="-122"/>
                <a:ea typeface="微软雅黑" pitchFamily="34" charset="-122"/>
              </a:rPr>
              <a:t>28000</a:t>
            </a:r>
            <a:r>
              <a:rPr lang="zh-CN" altLang="en-US" sz="1900">
                <a:solidFill>
                  <a:srgbClr val="262626"/>
                </a:solidFill>
                <a:latin typeface="微软雅黑" pitchFamily="34" charset="-122"/>
                <a:ea typeface="微软雅黑" pitchFamily="34" charset="-122"/>
              </a:rPr>
              <a:t>次</a:t>
            </a:r>
            <a:r>
              <a:rPr lang="en-US" altLang="zh-CN" sz="1900">
                <a:solidFill>
                  <a:srgbClr val="262626"/>
                </a:solidFill>
                <a:latin typeface="微软雅黑" pitchFamily="34" charset="-122"/>
                <a:ea typeface="微软雅黑" pitchFamily="34" charset="-122"/>
              </a:rPr>
              <a:t>/</a:t>
            </a:r>
            <a:r>
              <a:rPr lang="zh-CN" altLang="en-US" sz="1900">
                <a:solidFill>
                  <a:srgbClr val="262626"/>
                </a:solidFill>
                <a:latin typeface="微软雅黑" pitchFamily="34" charset="-122"/>
                <a:ea typeface="微软雅黑" pitchFamily="34" charset="-122"/>
              </a:rPr>
              <a:t>天</a:t>
            </a:r>
            <a:endParaRPr lang="en-US" altLang="zh-CN" sz="1900">
              <a:solidFill>
                <a:srgbClr val="262626"/>
              </a:solidFill>
              <a:latin typeface="微软雅黑" pitchFamily="34" charset="-122"/>
              <a:ea typeface="微软雅黑" pitchFamily="34" charset="-122"/>
            </a:endParaRPr>
          </a:p>
          <a:p>
            <a:pPr marL="785813" lvl="1" indent="-301625" defTabSz="966788">
              <a:lnSpc>
                <a:spcPct val="130000"/>
              </a:lnSpc>
              <a:buFont typeface="Arial" charset="0"/>
              <a:buChar char="•"/>
            </a:pPr>
            <a:r>
              <a:rPr lang="zh-CN" altLang="en-US" sz="1900">
                <a:solidFill>
                  <a:srgbClr val="262626"/>
                </a:solidFill>
                <a:latin typeface="微软雅黑" pitchFamily="34" charset="-122"/>
                <a:ea typeface="微软雅黑" pitchFamily="34" charset="-122"/>
              </a:rPr>
              <a:t>车辆规模增长</a:t>
            </a:r>
            <a:r>
              <a:rPr lang="en-US" altLang="zh-CN" sz="1900" b="1">
                <a:solidFill>
                  <a:srgbClr val="FF0000"/>
                </a:solidFill>
                <a:latin typeface="微软雅黑" pitchFamily="34" charset="-122"/>
                <a:ea typeface="微软雅黑" pitchFamily="34" charset="-122"/>
              </a:rPr>
              <a:t>18</a:t>
            </a:r>
            <a:r>
              <a:rPr lang="zh-CN" altLang="en-US" sz="1900" b="1">
                <a:solidFill>
                  <a:srgbClr val="FF0000"/>
                </a:solidFill>
                <a:latin typeface="微软雅黑" pitchFamily="34" charset="-122"/>
                <a:ea typeface="微软雅黑" pitchFamily="34" charset="-122"/>
              </a:rPr>
              <a:t>倍</a:t>
            </a:r>
            <a:endParaRPr lang="en-US" altLang="zh-CN" sz="1900" b="1">
              <a:solidFill>
                <a:srgbClr val="FF0000"/>
              </a:solidFill>
              <a:latin typeface="微软雅黑" pitchFamily="34" charset="-122"/>
              <a:ea typeface="微软雅黑" pitchFamily="34" charset="-122"/>
            </a:endParaRPr>
          </a:p>
        </p:txBody>
      </p:sp>
      <p:graphicFrame>
        <p:nvGraphicFramePr>
          <p:cNvPr id="9298" name="Object 82"/>
          <p:cNvGraphicFramePr>
            <a:graphicFrameLocks noChangeAspect="1"/>
          </p:cNvGraphicFramePr>
          <p:nvPr/>
        </p:nvGraphicFramePr>
        <p:xfrm>
          <a:off x="990600" y="3657600"/>
          <a:ext cx="4976813" cy="2524125"/>
        </p:xfrm>
        <a:graphic>
          <a:graphicData uri="http://schemas.openxmlformats.org/presentationml/2006/ole">
            <p:oleObj spid="_x0000_s9298" r:id="rId3" imgW="4700423" imgH="2383743" progId="Excel.Sheet.8">
              <p:embed/>
            </p:oleObj>
          </a:graphicData>
        </a:graphic>
      </p:graphicFrame>
      <p:graphicFrame>
        <p:nvGraphicFramePr>
          <p:cNvPr id="9299" name="Object 83"/>
          <p:cNvGraphicFramePr>
            <a:graphicFrameLocks/>
          </p:cNvGraphicFramePr>
          <p:nvPr/>
        </p:nvGraphicFramePr>
        <p:xfrm>
          <a:off x="6176963" y="3662363"/>
          <a:ext cx="5065712" cy="2519362"/>
        </p:xfrm>
        <a:graphic>
          <a:graphicData uri="http://schemas.openxmlformats.org/presentationml/2006/ole">
            <p:oleObj spid="_x0000_s9299" r:id="rId4" imgW="4785775" imgH="2377646" progId="Excel.Sheet.8">
              <p:embed/>
            </p:oleObj>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标题 1"/>
          <p:cNvSpPr>
            <a:spLocks noGrp="1"/>
          </p:cNvSpPr>
          <p:nvPr>
            <p:ph type="title"/>
          </p:nvPr>
        </p:nvSpPr>
        <p:spPr bwMode="auto">
          <a:xfrm>
            <a:off x="609600" y="77788"/>
            <a:ext cx="10972800" cy="1143000"/>
          </a:xfrm>
          <a:noFill/>
          <a:ln>
            <a:miter lim="800000"/>
            <a:headEnd/>
            <a:tailEnd/>
          </a:ln>
        </p:spPr>
        <p:txBody>
          <a:bodyPr vert="horz" wrap="square" lIns="121917" tIns="60958" rIns="121917" bIns="60958" numCol="1" anchor="t" anchorCtr="0" compatLnSpc="1">
            <a:prstTxWarp prst="textNoShape">
              <a:avLst/>
            </a:prstTxWarp>
          </a:bodyPr>
          <a:lstStyle/>
          <a:p>
            <a:r>
              <a:rPr lang="en-US" altLang="zh-CN" sz="3200" smtClean="0"/>
              <a:t>7</a:t>
            </a:r>
            <a:r>
              <a:rPr lang="zh-CN" altLang="en-US" sz="3200" smtClean="0"/>
              <a:t>年持续投放，奠定绝对领导地位</a:t>
            </a:r>
          </a:p>
        </p:txBody>
      </p:sp>
      <p:sp>
        <p:nvSpPr>
          <p:cNvPr id="3" name="文本框 2"/>
          <p:cNvSpPr txBox="1">
            <a:spLocks noChangeArrowheads="1"/>
          </p:cNvSpPr>
          <p:nvPr/>
        </p:nvSpPr>
        <p:spPr bwMode="auto">
          <a:xfrm>
            <a:off x="1066800" y="1193800"/>
            <a:ext cx="10790238" cy="2192338"/>
          </a:xfrm>
          <a:prstGeom prst="rect">
            <a:avLst/>
          </a:prstGeom>
          <a:noFill/>
          <a:ln w="9525">
            <a:noFill/>
            <a:miter lim="800000"/>
            <a:headEnd/>
            <a:tailEnd/>
          </a:ln>
        </p:spPr>
        <p:txBody>
          <a:bodyPr lIns="91438" tIns="45719" rIns="91438" bIns="45719">
            <a:spAutoFit/>
          </a:bodyPr>
          <a:lstStyle/>
          <a:p>
            <a:pPr defTabSz="966788">
              <a:lnSpc>
                <a:spcPct val="130000"/>
              </a:lnSpc>
            </a:pPr>
            <a:r>
              <a:rPr lang="en-US" altLang="zh-CN" sz="2100">
                <a:solidFill>
                  <a:srgbClr val="262626"/>
                </a:solidFill>
                <a:latin typeface="微软雅黑" pitchFamily="34" charset="-122"/>
                <a:ea typeface="微软雅黑" pitchFamily="34" charset="-122"/>
              </a:rPr>
              <a:t>2014</a:t>
            </a:r>
            <a:r>
              <a:rPr lang="zh-CN" altLang="en-US" sz="2100">
                <a:solidFill>
                  <a:srgbClr val="262626"/>
                </a:solidFill>
                <a:latin typeface="微软雅黑" pitchFamily="34" charset="-122"/>
                <a:ea typeface="微软雅黑" pitchFamily="34" charset="-122"/>
              </a:rPr>
              <a:t>年，神州租车上市时，车辆数</a:t>
            </a:r>
            <a:r>
              <a:rPr lang="en-US" altLang="zh-CN" sz="2100" b="1">
                <a:solidFill>
                  <a:srgbClr val="FF0000"/>
                </a:solidFill>
                <a:latin typeface="微软雅黑" pitchFamily="34" charset="-122"/>
                <a:ea typeface="微软雅黑" pitchFamily="34" charset="-122"/>
              </a:rPr>
              <a:t>91,179</a:t>
            </a:r>
            <a:r>
              <a:rPr lang="zh-CN" altLang="en-US" sz="2100" b="1">
                <a:latin typeface="微软雅黑" pitchFamily="34" charset="-122"/>
                <a:ea typeface="微软雅黑" pitchFamily="34" charset="-122"/>
              </a:rPr>
              <a:t>，</a:t>
            </a:r>
            <a:r>
              <a:rPr lang="zh-CN" altLang="en-US" sz="2100">
                <a:solidFill>
                  <a:srgbClr val="262626"/>
                </a:solidFill>
                <a:latin typeface="微软雅黑" pitchFamily="34" charset="-122"/>
                <a:ea typeface="微软雅黑" pitchFamily="34" charset="-122"/>
              </a:rPr>
              <a:t>是行业第二至第十名租车公司</a:t>
            </a:r>
            <a:r>
              <a:rPr lang="zh-CN" altLang="en-US" sz="2100" b="1">
                <a:solidFill>
                  <a:srgbClr val="FF0000"/>
                </a:solidFill>
                <a:latin typeface="微软雅黑" pitchFamily="34" charset="-122"/>
                <a:ea typeface="微软雅黑" pitchFamily="34" charset="-122"/>
              </a:rPr>
              <a:t>总和</a:t>
            </a:r>
            <a:r>
              <a:rPr lang="zh-CN" altLang="en-US" sz="2100">
                <a:solidFill>
                  <a:srgbClr val="262626"/>
                </a:solidFill>
                <a:latin typeface="微软雅黑" pitchFamily="34" charset="-122"/>
                <a:ea typeface="微软雅黑" pitchFamily="34" charset="-122"/>
              </a:rPr>
              <a:t>的</a:t>
            </a:r>
            <a:r>
              <a:rPr lang="en-US" altLang="zh-CN" sz="2100" b="1">
                <a:solidFill>
                  <a:srgbClr val="FF0000"/>
                </a:solidFill>
                <a:latin typeface="微软雅黑" pitchFamily="34" charset="-122"/>
                <a:ea typeface="微软雅黑" pitchFamily="34" charset="-122"/>
              </a:rPr>
              <a:t>1.5</a:t>
            </a:r>
            <a:r>
              <a:rPr lang="zh-CN" altLang="en-US" sz="2100" b="1">
                <a:solidFill>
                  <a:srgbClr val="FF0000"/>
                </a:solidFill>
                <a:latin typeface="微软雅黑" pitchFamily="34" charset="-122"/>
                <a:ea typeface="微软雅黑" pitchFamily="34" charset="-122"/>
              </a:rPr>
              <a:t>倍</a:t>
            </a:r>
            <a:endParaRPr lang="en-US" altLang="zh-CN" sz="2100" b="1">
              <a:solidFill>
                <a:srgbClr val="FF0000"/>
              </a:solidFill>
              <a:latin typeface="微软雅黑" pitchFamily="34" charset="-122"/>
              <a:ea typeface="微软雅黑" pitchFamily="34" charset="-122"/>
            </a:endParaRPr>
          </a:p>
          <a:p>
            <a:pPr defTabSz="966788">
              <a:lnSpc>
                <a:spcPct val="130000"/>
              </a:lnSpc>
            </a:pPr>
            <a:endParaRPr lang="en-US" altLang="zh-CN" sz="2100">
              <a:solidFill>
                <a:srgbClr val="262626"/>
              </a:solidFill>
              <a:latin typeface="微软雅黑" pitchFamily="34" charset="-122"/>
              <a:ea typeface="微软雅黑" pitchFamily="34" charset="-122"/>
            </a:endParaRPr>
          </a:p>
          <a:p>
            <a:pPr defTabSz="966788">
              <a:lnSpc>
                <a:spcPct val="130000"/>
              </a:lnSpc>
            </a:pPr>
            <a:r>
              <a:rPr lang="en-US" altLang="zh-CN" sz="2100">
                <a:solidFill>
                  <a:srgbClr val="262626"/>
                </a:solidFill>
                <a:latin typeface="微软雅黑" pitchFamily="34" charset="-122"/>
                <a:ea typeface="微软雅黑" pitchFamily="34" charset="-122"/>
              </a:rPr>
              <a:t>2015</a:t>
            </a:r>
            <a:r>
              <a:rPr lang="zh-CN" altLang="en-US" sz="2100">
                <a:solidFill>
                  <a:srgbClr val="262626"/>
                </a:solidFill>
                <a:latin typeface="微软雅黑" pitchFamily="34" charset="-122"/>
                <a:ea typeface="微软雅黑" pitchFamily="34" charset="-122"/>
              </a:rPr>
              <a:t>年，神州租车营收</a:t>
            </a:r>
            <a:r>
              <a:rPr lang="en-US" altLang="zh-CN" sz="2100">
                <a:solidFill>
                  <a:srgbClr val="262626"/>
                </a:solidFill>
                <a:latin typeface="微软雅黑" pitchFamily="34" charset="-122"/>
                <a:ea typeface="微软雅黑" pitchFamily="34" charset="-122"/>
              </a:rPr>
              <a:t>44</a:t>
            </a:r>
            <a:r>
              <a:rPr lang="zh-CN" altLang="en-US" sz="2100">
                <a:solidFill>
                  <a:srgbClr val="262626"/>
                </a:solidFill>
                <a:latin typeface="微软雅黑" pitchFamily="34" charset="-122"/>
                <a:ea typeface="微软雅黑" pitchFamily="34" charset="-122"/>
              </a:rPr>
              <a:t>亿元，是第二大租车公司的</a:t>
            </a:r>
            <a:r>
              <a:rPr lang="en-US" altLang="zh-CN" sz="2100" b="1">
                <a:solidFill>
                  <a:srgbClr val="FF0000"/>
                </a:solidFill>
                <a:latin typeface="微软雅黑" pitchFamily="34" charset="-122"/>
                <a:ea typeface="微软雅黑" pitchFamily="34" charset="-122"/>
              </a:rPr>
              <a:t>3</a:t>
            </a:r>
            <a:r>
              <a:rPr lang="zh-CN" altLang="en-US" sz="2100" b="1">
                <a:solidFill>
                  <a:srgbClr val="FF0000"/>
                </a:solidFill>
                <a:latin typeface="微软雅黑" pitchFamily="34" charset="-122"/>
                <a:ea typeface="微软雅黑" pitchFamily="34" charset="-122"/>
              </a:rPr>
              <a:t>倍</a:t>
            </a:r>
            <a:r>
              <a:rPr lang="zh-CN" altLang="en-US" sz="2100">
                <a:solidFill>
                  <a:srgbClr val="262626"/>
                </a:solidFill>
                <a:latin typeface="微软雅黑" pitchFamily="34" charset="-122"/>
                <a:ea typeface="微软雅黑" pitchFamily="34" charset="-122"/>
              </a:rPr>
              <a:t>。</a:t>
            </a:r>
            <a:endParaRPr lang="en-US" altLang="zh-CN" sz="2100">
              <a:solidFill>
                <a:srgbClr val="262626"/>
              </a:solidFill>
              <a:latin typeface="微软雅黑" pitchFamily="34" charset="-122"/>
              <a:ea typeface="微软雅黑" pitchFamily="34" charset="-122"/>
            </a:endParaRPr>
          </a:p>
          <a:p>
            <a:pPr defTabSz="966788">
              <a:lnSpc>
                <a:spcPct val="130000"/>
              </a:lnSpc>
            </a:pPr>
            <a:endParaRPr lang="en-US" altLang="zh-CN" sz="2100">
              <a:solidFill>
                <a:srgbClr val="262626"/>
              </a:solidFill>
              <a:latin typeface="微软雅黑" pitchFamily="34" charset="-122"/>
              <a:ea typeface="微软雅黑" pitchFamily="34" charset="-122"/>
            </a:endParaRPr>
          </a:p>
          <a:p>
            <a:pPr defTabSz="966788">
              <a:lnSpc>
                <a:spcPct val="130000"/>
              </a:lnSpc>
            </a:pPr>
            <a:r>
              <a:rPr lang="en-US" altLang="zh-CN" sz="2100">
                <a:solidFill>
                  <a:srgbClr val="262626"/>
                </a:solidFill>
                <a:latin typeface="微软雅黑" pitchFamily="34" charset="-122"/>
                <a:ea typeface="微软雅黑" pitchFamily="34" charset="-122"/>
              </a:rPr>
              <a:t>2016</a:t>
            </a:r>
            <a:r>
              <a:rPr lang="zh-CN" altLang="en-US" sz="2100">
                <a:solidFill>
                  <a:srgbClr val="262626"/>
                </a:solidFill>
                <a:latin typeface="微软雅黑" pitchFamily="34" charset="-122"/>
                <a:ea typeface="微软雅黑" pitchFamily="34" charset="-122"/>
              </a:rPr>
              <a:t>年，神州租车市值</a:t>
            </a:r>
            <a:r>
              <a:rPr lang="en-US" altLang="zh-CN" sz="2100">
                <a:solidFill>
                  <a:srgbClr val="262626"/>
                </a:solidFill>
                <a:latin typeface="微软雅黑" pitchFamily="34" charset="-122"/>
                <a:ea typeface="微软雅黑" pitchFamily="34" charset="-122"/>
              </a:rPr>
              <a:t>170</a:t>
            </a:r>
            <a:r>
              <a:rPr lang="zh-CN" altLang="en-US" sz="2100">
                <a:solidFill>
                  <a:srgbClr val="262626"/>
                </a:solidFill>
                <a:latin typeface="微软雅黑" pitchFamily="34" charset="-122"/>
                <a:ea typeface="微软雅黑" pitchFamily="34" charset="-122"/>
              </a:rPr>
              <a:t>亿元，是第二大租车公司的</a:t>
            </a:r>
            <a:r>
              <a:rPr lang="en-US" altLang="zh-CN" sz="2100" b="1">
                <a:solidFill>
                  <a:srgbClr val="FF0000"/>
                </a:solidFill>
                <a:latin typeface="微软雅黑" pitchFamily="34" charset="-122"/>
                <a:ea typeface="微软雅黑" pitchFamily="34" charset="-122"/>
              </a:rPr>
              <a:t>3.6</a:t>
            </a:r>
            <a:r>
              <a:rPr lang="zh-CN" altLang="en-US" sz="2100" b="1">
                <a:solidFill>
                  <a:srgbClr val="FF0000"/>
                </a:solidFill>
                <a:latin typeface="微软雅黑" pitchFamily="34" charset="-122"/>
                <a:ea typeface="微软雅黑" pitchFamily="34" charset="-122"/>
              </a:rPr>
              <a:t>倍</a:t>
            </a:r>
            <a:r>
              <a:rPr lang="zh-CN" altLang="en-US" sz="2100">
                <a:solidFill>
                  <a:srgbClr val="262626"/>
                </a:solidFill>
                <a:latin typeface="微软雅黑" pitchFamily="34" charset="-122"/>
                <a:ea typeface="微软雅黑" pitchFamily="34" charset="-122"/>
              </a:rPr>
              <a:t>，为中国汽车租赁第一股</a:t>
            </a:r>
          </a:p>
        </p:txBody>
      </p:sp>
      <p:grpSp>
        <p:nvGrpSpPr>
          <p:cNvPr id="53251" name="组合 11"/>
          <p:cNvGrpSpPr>
            <a:grpSpLocks/>
          </p:cNvGrpSpPr>
          <p:nvPr/>
        </p:nvGrpSpPr>
        <p:grpSpPr bwMode="auto">
          <a:xfrm>
            <a:off x="1200150" y="3813175"/>
            <a:ext cx="10253663" cy="1919288"/>
            <a:chOff x="1135713" y="3978040"/>
            <a:chExt cx="9371905" cy="1781424"/>
          </a:xfrm>
        </p:grpSpPr>
        <p:pic>
          <p:nvPicPr>
            <p:cNvPr id="53253" name="图片 12"/>
            <p:cNvPicPr>
              <a:picLocks noChangeAspect="1"/>
            </p:cNvPicPr>
            <p:nvPr/>
          </p:nvPicPr>
          <p:blipFill>
            <a:blip r:embed="rId2"/>
            <a:srcRect/>
            <a:stretch>
              <a:fillRect/>
            </a:stretch>
          </p:blipFill>
          <p:spPr bwMode="auto">
            <a:xfrm>
              <a:off x="7339846" y="3978040"/>
              <a:ext cx="3167772" cy="1781424"/>
            </a:xfrm>
            <a:prstGeom prst="rect">
              <a:avLst/>
            </a:prstGeom>
            <a:noFill/>
            <a:ln w="38100">
              <a:solidFill>
                <a:schemeClr val="tx1"/>
              </a:solidFill>
              <a:miter lim="800000"/>
              <a:headEnd/>
              <a:tailEnd/>
            </a:ln>
          </p:spPr>
        </p:pic>
        <p:grpSp>
          <p:nvGrpSpPr>
            <p:cNvPr id="53254" name="组合 15"/>
            <p:cNvGrpSpPr>
              <a:grpSpLocks/>
            </p:cNvGrpSpPr>
            <p:nvPr/>
          </p:nvGrpSpPr>
          <p:grpSpPr bwMode="auto">
            <a:xfrm>
              <a:off x="4701809" y="3978040"/>
              <a:ext cx="2196577" cy="1781424"/>
              <a:chOff x="4232697" y="2310640"/>
              <a:chExt cx="3852605" cy="3124463"/>
            </a:xfrm>
          </p:grpSpPr>
          <p:grpSp>
            <p:nvGrpSpPr>
              <p:cNvPr id="53256" name="组合 17"/>
              <p:cNvGrpSpPr>
                <a:grpSpLocks/>
              </p:cNvGrpSpPr>
              <p:nvPr/>
            </p:nvGrpSpPr>
            <p:grpSpPr bwMode="auto">
              <a:xfrm>
                <a:off x="4232697" y="2310640"/>
                <a:ext cx="3852605" cy="3124463"/>
                <a:chOff x="1086239" y="2087959"/>
                <a:chExt cx="3640355" cy="2952328"/>
              </a:xfrm>
            </p:grpSpPr>
            <p:pic>
              <p:nvPicPr>
                <p:cNvPr id="53261" name="图片 22" descr="C:\Users\Aaron Luo\Desktop\图片1.png"/>
                <p:cNvPicPr>
                  <a:picLocks noChangeAspect="1" noChangeArrowheads="1"/>
                </p:cNvPicPr>
                <p:nvPr/>
              </p:nvPicPr>
              <p:blipFill>
                <a:blip r:embed="rId3"/>
                <a:srcRect/>
                <a:stretch>
                  <a:fillRect/>
                </a:stretch>
              </p:blipFill>
              <p:spPr bwMode="auto">
                <a:xfrm>
                  <a:off x="1086239" y="2087959"/>
                  <a:ext cx="3640355" cy="2952328"/>
                </a:xfrm>
                <a:prstGeom prst="rect">
                  <a:avLst/>
                </a:prstGeom>
                <a:noFill/>
                <a:ln w="38100">
                  <a:solidFill>
                    <a:schemeClr val="tx1"/>
                  </a:solidFill>
                  <a:miter lim="800000"/>
                  <a:headEnd/>
                  <a:tailEnd/>
                </a:ln>
              </p:spPr>
            </p:pic>
            <p:pic>
              <p:nvPicPr>
                <p:cNvPr id="53262" name="图片 23"/>
                <p:cNvPicPr>
                  <a:picLocks noChangeAspect="1"/>
                </p:cNvPicPr>
                <p:nvPr/>
              </p:nvPicPr>
              <p:blipFill>
                <a:blip r:embed="rId4"/>
                <a:srcRect/>
                <a:stretch>
                  <a:fillRect/>
                </a:stretch>
              </p:blipFill>
              <p:spPr bwMode="auto">
                <a:xfrm>
                  <a:off x="1515828" y="2303983"/>
                  <a:ext cx="2804727" cy="1555368"/>
                </a:xfrm>
                <a:prstGeom prst="rect">
                  <a:avLst/>
                </a:prstGeom>
                <a:noFill/>
                <a:ln w="9525">
                  <a:noFill/>
                  <a:miter lim="800000"/>
                  <a:headEnd/>
                  <a:tailEnd/>
                </a:ln>
              </p:spPr>
            </p:pic>
          </p:grpSp>
          <p:grpSp>
            <p:nvGrpSpPr>
              <p:cNvPr id="53257" name="组合 18"/>
              <p:cNvGrpSpPr>
                <a:grpSpLocks/>
              </p:cNvGrpSpPr>
              <p:nvPr/>
            </p:nvGrpSpPr>
            <p:grpSpPr bwMode="auto">
              <a:xfrm>
                <a:off x="4630759" y="4505928"/>
                <a:ext cx="3045191" cy="549147"/>
                <a:chOff x="4630759" y="4505928"/>
                <a:chExt cx="3045191" cy="549147"/>
              </a:xfrm>
            </p:grpSpPr>
            <p:pic>
              <p:nvPicPr>
                <p:cNvPr id="20" name="图片 19"/>
                <p:cNvPicPr>
                  <a:picLocks noChangeAspect="1"/>
                </p:cNvPicPr>
                <p:nvPr/>
              </p:nvPicPr>
              <p:blipFill>
                <a:blip r:embed="rId5"/>
                <a:stretch>
                  <a:fillRect/>
                </a:stretch>
              </p:blipFill>
              <p:spPr>
                <a:xfrm>
                  <a:off x="4630442" y="4504741"/>
                  <a:ext cx="1033229" cy="550462"/>
                </a:xfrm>
                <a:prstGeom prst="rect">
                  <a:avLst/>
                </a:prstGeom>
                <a:ln>
                  <a:noFill/>
                </a:ln>
                <a:effectLst>
                  <a:outerShdw blurRad="190500" algn="tl" rotWithShape="0">
                    <a:srgbClr val="000000">
                      <a:alpha val="70000"/>
                    </a:srgbClr>
                  </a:outerShdw>
                </a:effectLst>
              </p:spPr>
            </p:pic>
            <p:pic>
              <p:nvPicPr>
                <p:cNvPr id="21" name="图片 20"/>
                <p:cNvPicPr>
                  <a:picLocks noChangeAspect="1"/>
                </p:cNvPicPr>
                <p:nvPr/>
              </p:nvPicPr>
              <p:blipFill rotWithShape="1">
                <a:blip r:embed="rId6"/>
                <a:srcRect/>
                <a:stretch/>
              </p:blipFill>
              <p:spPr>
                <a:xfrm>
                  <a:off x="6701990" y="4509910"/>
                  <a:ext cx="974697" cy="540125"/>
                </a:xfrm>
                <a:prstGeom prst="rect">
                  <a:avLst/>
                </a:prstGeom>
                <a:ln>
                  <a:noFill/>
                </a:ln>
                <a:effectLst>
                  <a:outerShdw blurRad="190500" algn="tl" rotWithShape="0">
                    <a:srgbClr val="000000">
                      <a:alpha val="70000"/>
                    </a:srgbClr>
                  </a:outerShdw>
                </a:effectLst>
              </p:spPr>
            </p:pic>
            <p:pic>
              <p:nvPicPr>
                <p:cNvPr id="22" name="图片 21"/>
                <p:cNvPicPr>
                  <a:picLocks noChangeAspect="1"/>
                </p:cNvPicPr>
                <p:nvPr/>
              </p:nvPicPr>
              <p:blipFill>
                <a:blip r:embed="rId7"/>
                <a:stretch>
                  <a:fillRect/>
                </a:stretch>
              </p:blipFill>
              <p:spPr>
                <a:xfrm>
                  <a:off x="5696755" y="4507325"/>
                  <a:ext cx="974696" cy="545295"/>
                </a:xfrm>
                <a:prstGeom prst="rect">
                  <a:avLst/>
                </a:prstGeom>
                <a:ln>
                  <a:noFill/>
                </a:ln>
                <a:effectLst>
                  <a:outerShdw blurRad="190500" algn="tl" rotWithShape="0">
                    <a:srgbClr val="000000">
                      <a:alpha val="70000"/>
                    </a:srgbClr>
                  </a:outerShdw>
                </a:effectLst>
              </p:spPr>
            </p:pic>
          </p:grpSp>
        </p:grpSp>
        <p:pic>
          <p:nvPicPr>
            <p:cNvPr id="53255" name="图片 16"/>
            <p:cNvPicPr>
              <a:picLocks noChangeAspect="1"/>
            </p:cNvPicPr>
            <p:nvPr/>
          </p:nvPicPr>
          <p:blipFill>
            <a:blip r:embed="rId8"/>
            <a:srcRect/>
            <a:stretch>
              <a:fillRect/>
            </a:stretch>
          </p:blipFill>
          <p:spPr bwMode="auto">
            <a:xfrm>
              <a:off x="1135713" y="3978040"/>
              <a:ext cx="3124636" cy="1781424"/>
            </a:xfrm>
            <a:prstGeom prst="rect">
              <a:avLst/>
            </a:prstGeom>
            <a:noFill/>
            <a:ln w="38100">
              <a:solidFill>
                <a:schemeClr val="tx1"/>
              </a:solidFill>
              <a:miter lim="800000"/>
              <a:headEnd/>
              <a:tailEnd/>
            </a:ln>
          </p:spPr>
        </p:pic>
      </p:grpSp>
      <p:pic>
        <p:nvPicPr>
          <p:cNvPr id="53252" name="图片 17"/>
          <p:cNvPicPr>
            <a:picLocks noChangeAspect="1"/>
          </p:cNvPicPr>
          <p:nvPr/>
        </p:nvPicPr>
        <p:blipFill>
          <a:blip r:embed="rId9"/>
          <a:srcRect/>
          <a:stretch>
            <a:fillRect/>
          </a:stretch>
        </p:blipFill>
        <p:spPr bwMode="auto">
          <a:xfrm>
            <a:off x="7988300" y="3687763"/>
            <a:ext cx="3743325" cy="205105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1867D30F-FAF0-4C00-A5EE-C59FDEC15049}" type="slidenum">
              <a:rPr lang="zh-CN" altLang="en-US">
                <a:latin typeface="黑体" pitchFamily="49" charset="-122"/>
                <a:ea typeface="黑体" pitchFamily="49" charset="-122"/>
              </a:rPr>
              <a:pPr defTabSz="912813" fontAlgn="base">
                <a:spcBef>
                  <a:spcPct val="0"/>
                </a:spcBef>
                <a:spcAft>
                  <a:spcPct val="0"/>
                </a:spcAft>
              </a:pPr>
              <a:t>17</a:t>
            </a:fld>
            <a:endParaRPr lang="en-US" altLang="zh-CN">
              <a:latin typeface="黑体" pitchFamily="49" charset="-122"/>
              <a:ea typeface="黑体" pitchFamily="49" charset="-122"/>
            </a:endParaRPr>
          </a:p>
        </p:txBody>
      </p:sp>
      <p:sp>
        <p:nvSpPr>
          <p:cNvPr id="54274" name="副标题 5"/>
          <p:cNvSpPr txBox="1">
            <a:spLocks/>
          </p:cNvSpPr>
          <p:nvPr/>
        </p:nvSpPr>
        <p:spPr bwMode="auto">
          <a:xfrm>
            <a:off x="762000" y="1700213"/>
            <a:ext cx="10763250" cy="762000"/>
          </a:xfrm>
          <a:prstGeom prst="rect">
            <a:avLst/>
          </a:prstGeom>
          <a:noFill/>
          <a:ln w="9525">
            <a:noFill/>
            <a:miter lim="800000"/>
            <a:headEnd/>
            <a:tailEnd/>
          </a:ln>
        </p:spPr>
        <p:txBody>
          <a:bodyPr lIns="121920" tIns="60960" rIns="121920" bIns="60960"/>
          <a:lstStyle/>
          <a:p>
            <a:pPr marL="608013" indent="-608013">
              <a:spcBef>
                <a:spcPct val="20000"/>
              </a:spcBef>
              <a:buFontTx/>
              <a:buAutoNum type="arabicPeriod"/>
            </a:pPr>
            <a:endParaRPr lang="en-US" altLang="zh-CN" sz="3200" b="1">
              <a:latin typeface="黑体" pitchFamily="49" charset="-122"/>
              <a:ea typeface="黑体" pitchFamily="49" charset="-122"/>
            </a:endParaRPr>
          </a:p>
        </p:txBody>
      </p:sp>
      <p:sp>
        <p:nvSpPr>
          <p:cNvPr id="8" name="文本框 7"/>
          <p:cNvSpPr txBox="1"/>
          <p:nvPr/>
        </p:nvSpPr>
        <p:spPr>
          <a:xfrm>
            <a:off x="4656138" y="2084388"/>
            <a:ext cx="2928937" cy="912812"/>
          </a:xfrm>
          <a:prstGeom prst="rect">
            <a:avLst/>
          </a:prstGeom>
          <a:noFill/>
        </p:spPr>
        <p:txBody>
          <a:bodyPr wrap="none">
            <a:spAutoFit/>
          </a:bodyPr>
          <a:lstStyle/>
          <a:p>
            <a:r>
              <a:rPr lang="zh-CN" altLang="en-US" sz="5300" b="1">
                <a:latin typeface="黑体" pitchFamily="49" charset="-122"/>
                <a:ea typeface="黑体" pitchFamily="49" charset="-122"/>
              </a:rPr>
              <a:t>占据特性</a:t>
            </a:r>
            <a:endParaRPr lang="zh-CN" altLang="zh-CN" sz="5300" b="1">
              <a:latin typeface="黑体" pitchFamily="49" charset="-122"/>
              <a:ea typeface="黑体" pitchFamily="49" charset="-122"/>
            </a:endParaRPr>
          </a:p>
        </p:txBody>
      </p:sp>
      <p:sp>
        <p:nvSpPr>
          <p:cNvPr id="54276" name="文本框 10"/>
          <p:cNvSpPr txBox="1">
            <a:spLocks noChangeArrowheads="1"/>
          </p:cNvSpPr>
          <p:nvPr/>
        </p:nvSpPr>
        <p:spPr bwMode="auto">
          <a:xfrm>
            <a:off x="1314450" y="3425825"/>
            <a:ext cx="9753600" cy="2308225"/>
          </a:xfrm>
          <a:prstGeom prst="rect">
            <a:avLst/>
          </a:prstGeom>
          <a:noFill/>
          <a:ln w="9525">
            <a:noFill/>
            <a:miter lim="800000"/>
            <a:headEnd/>
            <a:tailEnd/>
          </a:ln>
        </p:spPr>
        <p:txBody>
          <a:bodyPr>
            <a:spAutoFit/>
          </a:bodyPr>
          <a:lstStyle/>
          <a:p>
            <a:pPr indent="598488">
              <a:lnSpc>
                <a:spcPct val="150000"/>
              </a:lnSpc>
            </a:pPr>
            <a:r>
              <a:rPr lang="zh-CN" altLang="en-US" sz="2400">
                <a:latin typeface="黑体" pitchFamily="49" charset="-122"/>
                <a:ea typeface="黑体" pitchFamily="49" charset="-122"/>
              </a:rPr>
              <a:t>当顾客认知中品类已有代表品牌时，还可以通过占据品类特性，来获得相关消费者的优先选择。</a:t>
            </a:r>
            <a:endParaRPr lang="en-US" altLang="zh-CN" sz="2400">
              <a:latin typeface="黑体" pitchFamily="49" charset="-122"/>
              <a:ea typeface="黑体" pitchFamily="49" charset="-122"/>
            </a:endParaRPr>
          </a:p>
          <a:p>
            <a:pPr indent="598488">
              <a:lnSpc>
                <a:spcPct val="150000"/>
              </a:lnSpc>
            </a:pPr>
            <a:r>
              <a:rPr lang="zh-CN" altLang="en-US" sz="2400">
                <a:latin typeface="黑体" pitchFamily="49" charset="-122"/>
                <a:ea typeface="黑体" pitchFamily="49" charset="-122"/>
              </a:rPr>
              <a:t>品类有各种各样的特性，如对汽车品类而言，驾驶、尊贵、安全等等。</a:t>
            </a:r>
            <a:endParaRPr lang="en-US" altLang="zh-CN" sz="2400">
              <a:latin typeface="黑体" pitchFamily="49" charset="-122"/>
              <a:ea typeface="黑体" pitchFamily="49" charset="-122"/>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幻灯片编号占位符 3"/>
          <p:cNvSpPr>
            <a:spLocks noGrp="1"/>
          </p:cNvSpPr>
          <p:nvPr>
            <p:ph type="sldNum" sz="quarter" idx="4294967295"/>
          </p:nvPr>
        </p:nvSpPr>
        <p:spPr bwMode="auto">
          <a:xfrm>
            <a:off x="5135563" y="6424613"/>
            <a:ext cx="2844800" cy="365125"/>
          </a:xfrm>
          <a:prstGeom prst="rect">
            <a:avLst/>
          </a:prstGeom>
          <a:noFill/>
          <a:ln>
            <a:miter lim="800000"/>
            <a:headEnd/>
            <a:tailEnd/>
          </a:ln>
        </p:spPr>
        <p:txBody>
          <a:bodyPr/>
          <a:lstStyle/>
          <a:p>
            <a:fld id="{E2D7DA6B-19F5-405C-B928-F8D86B691782}" type="slidenum">
              <a:rPr lang="zh-CN" altLang="en-US">
                <a:latin typeface="Calibri Light"/>
                <a:ea typeface="微软雅黑" pitchFamily="34" charset="-122"/>
              </a:rPr>
              <a:pPr/>
              <a:t>18</a:t>
            </a:fld>
            <a:endParaRPr lang="en-US" altLang="zh-CN">
              <a:latin typeface="Calibri Light"/>
              <a:ea typeface="微软雅黑" pitchFamily="34" charset="-122"/>
            </a:endParaRPr>
          </a:p>
        </p:txBody>
      </p:sp>
      <p:sp>
        <p:nvSpPr>
          <p:cNvPr id="56322" name="文本框 2"/>
          <p:cNvSpPr txBox="1">
            <a:spLocks noChangeArrowheads="1"/>
          </p:cNvSpPr>
          <p:nvPr/>
        </p:nvSpPr>
        <p:spPr bwMode="auto">
          <a:xfrm>
            <a:off x="4498975" y="2979738"/>
            <a:ext cx="6276975" cy="2308225"/>
          </a:xfrm>
          <a:prstGeom prst="rect">
            <a:avLst/>
          </a:prstGeom>
          <a:noFill/>
          <a:ln w="9525">
            <a:noFill/>
            <a:miter lim="800000"/>
            <a:headEnd/>
            <a:tailEnd/>
          </a:ln>
        </p:spPr>
        <p:txBody>
          <a:bodyPr>
            <a:spAutoFit/>
          </a:bodyPr>
          <a:lstStyle/>
          <a:p>
            <a:pPr indent="598488">
              <a:lnSpc>
                <a:spcPct val="150000"/>
              </a:lnSpc>
            </a:pPr>
            <a:r>
              <a:rPr lang="zh-CN" altLang="en-US" sz="2400">
                <a:latin typeface="黑体" pitchFamily="49" charset="-122"/>
                <a:ea typeface="黑体" pitchFamily="49" charset="-122"/>
              </a:rPr>
              <a:t>当滴滴已成为专车领导品牌时，神州专车通过主广告语“神州专车，就是</a:t>
            </a:r>
            <a:r>
              <a:rPr lang="zh-CN" altLang="zh-CN" sz="2400">
                <a:latin typeface="黑体" pitchFamily="49" charset="-122"/>
                <a:ea typeface="黑体" pitchFamily="49" charset="-122"/>
              </a:rPr>
              <a:t>安全</a:t>
            </a:r>
            <a:r>
              <a:rPr lang="zh-CN" altLang="en-US" sz="2400">
                <a:latin typeface="黑体" pitchFamily="49" charset="-122"/>
                <a:ea typeface="黑体" pitchFamily="49" charset="-122"/>
              </a:rPr>
              <a:t>”，诉求其拥有安全特性，从而被相关顾客优先选择。</a:t>
            </a:r>
            <a:endParaRPr lang="en-US" altLang="zh-CN" sz="2400">
              <a:latin typeface="黑体" pitchFamily="49" charset="-122"/>
              <a:ea typeface="黑体" pitchFamily="49" charset="-122"/>
            </a:endParaRPr>
          </a:p>
        </p:txBody>
      </p:sp>
      <p:sp>
        <p:nvSpPr>
          <p:cNvPr id="56323" name="文本框 10"/>
          <p:cNvSpPr txBox="1">
            <a:spLocks noChangeArrowheads="1"/>
          </p:cNvSpPr>
          <p:nvPr/>
        </p:nvSpPr>
        <p:spPr bwMode="auto">
          <a:xfrm>
            <a:off x="6288088" y="2278063"/>
            <a:ext cx="2976562" cy="585787"/>
          </a:xfrm>
          <a:prstGeom prst="rect">
            <a:avLst/>
          </a:prstGeom>
          <a:noFill/>
          <a:ln w="9525">
            <a:noFill/>
            <a:miter lim="800000"/>
            <a:headEnd/>
            <a:tailEnd/>
          </a:ln>
        </p:spPr>
        <p:txBody>
          <a:bodyPr>
            <a:spAutoFit/>
          </a:bodyPr>
          <a:lstStyle/>
          <a:p>
            <a:pPr algn="ctr"/>
            <a:r>
              <a:rPr kumimoji="1" lang="zh-CN" altLang="en-US" sz="3200" b="1">
                <a:latin typeface="黑体" pitchFamily="49" charset="-122"/>
                <a:ea typeface="黑体" pitchFamily="49" charset="-122"/>
              </a:rPr>
              <a:t>神州专车</a:t>
            </a:r>
          </a:p>
        </p:txBody>
      </p:sp>
      <p:sp>
        <p:nvSpPr>
          <p:cNvPr id="12" name="副标题 5"/>
          <p:cNvSpPr txBox="1">
            <a:spLocks/>
          </p:cNvSpPr>
          <p:nvPr/>
        </p:nvSpPr>
        <p:spPr>
          <a:xfrm>
            <a:off x="285750" y="452438"/>
            <a:ext cx="10763250" cy="1047750"/>
          </a:xfrm>
          <a:prstGeom prst="rect">
            <a:avLst/>
          </a:prstGeom>
        </p:spPr>
        <p:txBody>
          <a:bodyPr lIns="121920" tIns="60960" rIns="121920" bIns="60960"/>
          <a:lstStyle/>
          <a:p>
            <a:pPr algn="just">
              <a:lnSpc>
                <a:spcPct val="150000"/>
              </a:lnSpc>
              <a:spcBef>
                <a:spcPct val="20000"/>
              </a:spcBef>
            </a:pPr>
            <a:r>
              <a:rPr lang="en-US" altLang="zh-CN" sz="4200" b="1">
                <a:solidFill>
                  <a:srgbClr val="FF0000"/>
                </a:solidFill>
                <a:latin typeface="黑体" pitchFamily="49" charset="-122"/>
                <a:ea typeface="黑体" pitchFamily="49" charset="-122"/>
              </a:rPr>
              <a:t>2.</a:t>
            </a:r>
            <a:r>
              <a:rPr lang="zh-CN" altLang="en-US" sz="4200" b="1">
                <a:solidFill>
                  <a:srgbClr val="FF0000"/>
                </a:solidFill>
                <a:latin typeface="黑体" pitchFamily="49" charset="-122"/>
                <a:ea typeface="黑体" pitchFamily="49" charset="-122"/>
              </a:rPr>
              <a:t>占据特性</a:t>
            </a:r>
            <a:endParaRPr lang="en-US" altLang="zh-CN" sz="4200" b="1">
              <a:solidFill>
                <a:srgbClr val="FF0000"/>
              </a:solidFill>
              <a:latin typeface="黑体" pitchFamily="49" charset="-122"/>
              <a:ea typeface="黑体" pitchFamily="49" charset="-122"/>
            </a:endParaRPr>
          </a:p>
        </p:txBody>
      </p:sp>
      <p:grpSp>
        <p:nvGrpSpPr>
          <p:cNvPr id="56325" name="组 7"/>
          <p:cNvGrpSpPr>
            <a:grpSpLocks/>
          </p:cNvGrpSpPr>
          <p:nvPr/>
        </p:nvGrpSpPr>
        <p:grpSpPr bwMode="auto">
          <a:xfrm>
            <a:off x="839788" y="2097088"/>
            <a:ext cx="3263900" cy="4319587"/>
            <a:chOff x="323528" y="1494418"/>
            <a:chExt cx="2448000" cy="3240000"/>
          </a:xfrm>
        </p:grpSpPr>
        <p:pic>
          <p:nvPicPr>
            <p:cNvPr id="56326" name="图片 8"/>
            <p:cNvPicPr>
              <a:picLocks/>
            </p:cNvPicPr>
            <p:nvPr/>
          </p:nvPicPr>
          <p:blipFill>
            <a:blip r:embed="rId3"/>
            <a:srcRect/>
            <a:stretch>
              <a:fillRect/>
            </a:stretch>
          </p:blipFill>
          <p:spPr bwMode="auto">
            <a:xfrm>
              <a:off x="323528" y="1494418"/>
              <a:ext cx="2448000" cy="3240000"/>
            </a:xfrm>
            <a:prstGeom prst="rect">
              <a:avLst/>
            </a:prstGeom>
            <a:noFill/>
            <a:ln w="9525">
              <a:noFill/>
              <a:miter lim="800000"/>
              <a:headEnd/>
              <a:tailEnd/>
            </a:ln>
          </p:spPr>
        </p:pic>
        <p:pic>
          <p:nvPicPr>
            <p:cNvPr id="56327" name="图片 6"/>
            <p:cNvPicPr>
              <a:picLocks/>
            </p:cNvPicPr>
            <p:nvPr/>
          </p:nvPicPr>
          <p:blipFill>
            <a:blip r:embed="rId4"/>
            <a:srcRect/>
            <a:stretch>
              <a:fillRect/>
            </a:stretch>
          </p:blipFill>
          <p:spPr bwMode="auto">
            <a:xfrm>
              <a:off x="466390" y="1635745"/>
              <a:ext cx="2160000" cy="295200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138DA75B-8A44-49EC-A110-BBE2E430FCD6}" type="slidenum">
              <a:rPr lang="zh-CN" altLang="en-US"/>
              <a:pPr defTabSz="912813" fontAlgn="base">
                <a:spcBef>
                  <a:spcPct val="0"/>
                </a:spcBef>
                <a:spcAft>
                  <a:spcPct val="0"/>
                </a:spcAft>
              </a:pPr>
              <a:t>19</a:t>
            </a:fld>
            <a:endParaRPr lang="en-US" altLang="zh-CN"/>
          </a:p>
        </p:txBody>
      </p:sp>
      <p:grpSp>
        <p:nvGrpSpPr>
          <p:cNvPr id="58370" name="组 5"/>
          <p:cNvGrpSpPr>
            <a:grpSpLocks/>
          </p:cNvGrpSpPr>
          <p:nvPr/>
        </p:nvGrpSpPr>
        <p:grpSpPr bwMode="auto">
          <a:xfrm>
            <a:off x="8509000" y="2111375"/>
            <a:ext cx="3263900" cy="4313238"/>
            <a:chOff x="5826543" y="1574285"/>
            <a:chExt cx="2448272" cy="3234653"/>
          </a:xfrm>
        </p:grpSpPr>
        <p:pic>
          <p:nvPicPr>
            <p:cNvPr id="58378" name="图片 4"/>
            <p:cNvPicPr>
              <a:picLocks noChangeAspect="1"/>
            </p:cNvPicPr>
            <p:nvPr/>
          </p:nvPicPr>
          <p:blipFill>
            <a:blip r:embed="rId3"/>
            <a:srcRect/>
            <a:stretch>
              <a:fillRect/>
            </a:stretch>
          </p:blipFill>
          <p:spPr bwMode="auto">
            <a:xfrm>
              <a:off x="5969972" y="1719173"/>
              <a:ext cx="2194997" cy="2948128"/>
            </a:xfrm>
            <a:prstGeom prst="rect">
              <a:avLst/>
            </a:prstGeom>
            <a:noFill/>
            <a:ln w="9525">
              <a:noFill/>
              <a:miter lim="800000"/>
              <a:headEnd/>
              <a:tailEnd/>
            </a:ln>
          </p:spPr>
        </p:pic>
        <p:pic>
          <p:nvPicPr>
            <p:cNvPr id="58379" name="图片 13"/>
            <p:cNvPicPr>
              <a:picLocks noChangeAspect="1"/>
            </p:cNvPicPr>
            <p:nvPr/>
          </p:nvPicPr>
          <p:blipFill>
            <a:blip r:embed="rId4"/>
            <a:srcRect/>
            <a:stretch>
              <a:fillRect/>
            </a:stretch>
          </p:blipFill>
          <p:spPr bwMode="auto">
            <a:xfrm>
              <a:off x="5826543" y="1574285"/>
              <a:ext cx="2448272" cy="3234653"/>
            </a:xfrm>
            <a:prstGeom prst="rect">
              <a:avLst/>
            </a:prstGeom>
            <a:noFill/>
            <a:ln w="9525">
              <a:noFill/>
              <a:miter lim="800000"/>
              <a:headEnd/>
              <a:tailEnd/>
            </a:ln>
          </p:spPr>
        </p:pic>
      </p:grpSp>
      <p:sp>
        <p:nvSpPr>
          <p:cNvPr id="20" name="副标题 5"/>
          <p:cNvSpPr txBox="1">
            <a:spLocks/>
          </p:cNvSpPr>
          <p:nvPr/>
        </p:nvSpPr>
        <p:spPr>
          <a:xfrm>
            <a:off x="285750" y="452438"/>
            <a:ext cx="10763250" cy="1047750"/>
          </a:xfrm>
          <a:prstGeom prst="rect">
            <a:avLst/>
          </a:prstGeom>
        </p:spPr>
        <p:txBody>
          <a:bodyPr lIns="121920" tIns="60960" rIns="121920" bIns="60960"/>
          <a:lstStyle/>
          <a:p>
            <a:pPr algn="just">
              <a:lnSpc>
                <a:spcPct val="150000"/>
              </a:lnSpc>
              <a:spcBef>
                <a:spcPct val="20000"/>
              </a:spcBef>
            </a:pPr>
            <a:r>
              <a:rPr lang="en-US" altLang="zh-CN" sz="4200" b="1">
                <a:solidFill>
                  <a:schemeClr val="bg1"/>
                </a:solidFill>
                <a:latin typeface="黑体" pitchFamily="49" charset="-122"/>
                <a:ea typeface="黑体" pitchFamily="49" charset="-122"/>
              </a:rPr>
              <a:t>2.</a:t>
            </a:r>
            <a:r>
              <a:rPr lang="zh-CN" altLang="en-US" sz="4200" b="1">
                <a:solidFill>
                  <a:schemeClr val="bg1"/>
                </a:solidFill>
                <a:latin typeface="黑体" pitchFamily="49" charset="-122"/>
                <a:ea typeface="黑体" pitchFamily="49" charset="-122"/>
              </a:rPr>
              <a:t>占据特性</a:t>
            </a:r>
            <a:endParaRPr lang="en-US" altLang="zh-CN" sz="4200" b="1">
              <a:solidFill>
                <a:schemeClr val="bg1"/>
              </a:solidFill>
              <a:latin typeface="黑体" pitchFamily="49" charset="-122"/>
              <a:ea typeface="黑体" pitchFamily="49" charset="-122"/>
            </a:endParaRPr>
          </a:p>
        </p:txBody>
      </p:sp>
      <p:grpSp>
        <p:nvGrpSpPr>
          <p:cNvPr id="58372" name="组 12"/>
          <p:cNvGrpSpPr>
            <a:grpSpLocks/>
          </p:cNvGrpSpPr>
          <p:nvPr/>
        </p:nvGrpSpPr>
        <p:grpSpPr bwMode="auto">
          <a:xfrm>
            <a:off x="4587875" y="2084388"/>
            <a:ext cx="3263900" cy="4313237"/>
            <a:chOff x="3443173" y="1277027"/>
            <a:chExt cx="2448272" cy="3234653"/>
          </a:xfrm>
        </p:grpSpPr>
        <p:pic>
          <p:nvPicPr>
            <p:cNvPr id="58376" name="图片 11"/>
            <p:cNvPicPr>
              <a:picLocks noChangeAspect="1"/>
            </p:cNvPicPr>
            <p:nvPr/>
          </p:nvPicPr>
          <p:blipFill>
            <a:blip r:embed="rId4"/>
            <a:srcRect/>
            <a:stretch>
              <a:fillRect/>
            </a:stretch>
          </p:blipFill>
          <p:spPr bwMode="auto">
            <a:xfrm>
              <a:off x="3443173" y="1277027"/>
              <a:ext cx="2448272" cy="3234653"/>
            </a:xfrm>
            <a:prstGeom prst="rect">
              <a:avLst/>
            </a:prstGeom>
            <a:noFill/>
            <a:ln w="9525">
              <a:noFill/>
              <a:miter lim="800000"/>
              <a:headEnd/>
              <a:tailEnd/>
            </a:ln>
          </p:spPr>
        </p:pic>
        <p:pic>
          <p:nvPicPr>
            <p:cNvPr id="58377" name="图片 9"/>
            <p:cNvPicPr>
              <a:picLocks noChangeAspect="1"/>
            </p:cNvPicPr>
            <p:nvPr/>
          </p:nvPicPr>
          <p:blipFill>
            <a:blip r:embed="rId5"/>
            <a:srcRect/>
            <a:stretch>
              <a:fillRect/>
            </a:stretch>
          </p:blipFill>
          <p:spPr bwMode="auto">
            <a:xfrm>
              <a:off x="3587189" y="1431826"/>
              <a:ext cx="2160240" cy="2944596"/>
            </a:xfrm>
            <a:prstGeom prst="rect">
              <a:avLst/>
            </a:prstGeom>
            <a:noFill/>
            <a:ln w="9525">
              <a:noFill/>
              <a:miter lim="800000"/>
              <a:headEnd/>
              <a:tailEnd/>
            </a:ln>
          </p:spPr>
        </p:pic>
      </p:grpSp>
      <p:grpSp>
        <p:nvGrpSpPr>
          <p:cNvPr id="58373" name="组 2"/>
          <p:cNvGrpSpPr>
            <a:grpSpLocks/>
          </p:cNvGrpSpPr>
          <p:nvPr/>
        </p:nvGrpSpPr>
        <p:grpSpPr bwMode="auto">
          <a:xfrm>
            <a:off x="774700" y="2057400"/>
            <a:ext cx="3263900" cy="4313238"/>
            <a:chOff x="580972" y="1203598"/>
            <a:chExt cx="2448272" cy="3234653"/>
          </a:xfrm>
        </p:grpSpPr>
        <p:pic>
          <p:nvPicPr>
            <p:cNvPr id="58374" name="图片 15"/>
            <p:cNvPicPr>
              <a:picLocks noChangeAspect="1"/>
            </p:cNvPicPr>
            <p:nvPr/>
          </p:nvPicPr>
          <p:blipFill>
            <a:blip r:embed="rId4"/>
            <a:srcRect/>
            <a:stretch>
              <a:fillRect/>
            </a:stretch>
          </p:blipFill>
          <p:spPr bwMode="auto">
            <a:xfrm>
              <a:off x="580972" y="1203598"/>
              <a:ext cx="2448272" cy="3234653"/>
            </a:xfrm>
            <a:prstGeom prst="rect">
              <a:avLst/>
            </a:prstGeom>
            <a:noFill/>
            <a:ln w="9525">
              <a:noFill/>
              <a:miter lim="800000"/>
              <a:headEnd/>
              <a:tailEnd/>
            </a:ln>
          </p:spPr>
        </p:pic>
        <p:pic>
          <p:nvPicPr>
            <p:cNvPr id="58375" name="图片 1"/>
            <p:cNvPicPr>
              <a:picLocks/>
            </p:cNvPicPr>
            <p:nvPr/>
          </p:nvPicPr>
          <p:blipFill>
            <a:blip r:embed="rId6"/>
            <a:srcRect/>
            <a:stretch>
              <a:fillRect/>
            </a:stretch>
          </p:blipFill>
          <p:spPr bwMode="auto">
            <a:xfrm>
              <a:off x="725108" y="1362924"/>
              <a:ext cx="2160000" cy="291600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874713" y="1089025"/>
            <a:ext cx="10363200" cy="1470025"/>
          </a:xfrm>
        </p:spPr>
        <p:txBody>
          <a:bodyPr>
            <a:normAutofit fontScale="90000"/>
          </a:bodyPr>
          <a:lstStyle/>
          <a:p>
            <a:pPr algn="ctr" defTabSz="914309" fontAlgn="auto">
              <a:spcAft>
                <a:spcPts val="0"/>
              </a:spcAft>
              <a:defRPr/>
            </a:pPr>
            <a:r>
              <a:rPr lang="zh-CN" altLang="en-US" sz="4000" b="1" dirty="0" smtClean="0">
                <a:solidFill>
                  <a:srgbClr val="FF0000"/>
                </a:solidFill>
                <a:effectLst>
                  <a:outerShdw blurRad="50800" dist="38100" dir="8100000" algn="tr" rotWithShape="0">
                    <a:prstClr val="black">
                      <a:alpha val="40000"/>
                    </a:prstClr>
                  </a:outerShdw>
                </a:effectLst>
                <a:latin typeface="+mj-ea"/>
              </a:rPr>
              <a:t>孙子兵法和战争论的启示</a:t>
            </a:r>
            <a:r>
              <a:rPr lang="en-US" altLang="zh-CN" sz="4800" b="1" dirty="0">
                <a:solidFill>
                  <a:srgbClr val="FF0000"/>
                </a:solidFill>
                <a:effectLst>
                  <a:outerShdw blurRad="50800" dist="38100" dir="8100000" algn="tr" rotWithShape="0">
                    <a:prstClr val="black">
                      <a:alpha val="40000"/>
                    </a:prstClr>
                  </a:outerShdw>
                </a:effectLst>
                <a:latin typeface="+mj-ea"/>
              </a:rPr>
              <a:t/>
            </a:r>
            <a:br>
              <a:rPr lang="en-US" altLang="zh-CN" sz="4800" b="1" dirty="0">
                <a:solidFill>
                  <a:srgbClr val="FF0000"/>
                </a:solidFill>
                <a:effectLst>
                  <a:outerShdw blurRad="50800" dist="38100" dir="8100000" algn="tr" rotWithShape="0">
                    <a:prstClr val="black">
                      <a:alpha val="40000"/>
                    </a:prstClr>
                  </a:outerShdw>
                </a:effectLst>
                <a:latin typeface="+mj-ea"/>
              </a:rPr>
            </a:br>
            <a:r>
              <a:rPr lang="en-US" altLang="zh-CN" sz="4800" b="1" dirty="0" smtClean="0">
                <a:solidFill>
                  <a:srgbClr val="FF0000"/>
                </a:solidFill>
                <a:effectLst>
                  <a:outerShdw blurRad="50800" dist="38100" dir="8100000" algn="tr" rotWithShape="0">
                    <a:prstClr val="black">
                      <a:alpha val="40000"/>
                    </a:prstClr>
                  </a:outerShdw>
                </a:effectLst>
                <a:latin typeface="+mj-ea"/>
              </a:rPr>
              <a:t/>
            </a:r>
            <a:br>
              <a:rPr lang="en-US" altLang="zh-CN" sz="4800" b="1" dirty="0" smtClean="0">
                <a:solidFill>
                  <a:srgbClr val="FF0000"/>
                </a:solidFill>
                <a:effectLst>
                  <a:outerShdw blurRad="50800" dist="38100" dir="8100000" algn="tr" rotWithShape="0">
                    <a:prstClr val="black">
                      <a:alpha val="40000"/>
                    </a:prstClr>
                  </a:outerShdw>
                </a:effectLst>
                <a:latin typeface="+mj-ea"/>
              </a:rPr>
            </a:br>
            <a:r>
              <a:rPr lang="en-US" altLang="zh-CN" sz="4800" b="1" dirty="0">
                <a:solidFill>
                  <a:srgbClr val="FF0000"/>
                </a:solidFill>
                <a:effectLst>
                  <a:outerShdw blurRad="50800" dist="38100" dir="8100000" algn="tr" rotWithShape="0">
                    <a:prstClr val="black">
                      <a:alpha val="40000"/>
                    </a:prstClr>
                  </a:outerShdw>
                </a:effectLst>
                <a:latin typeface="+mj-ea"/>
              </a:rPr>
              <a:t/>
            </a:r>
            <a:br>
              <a:rPr lang="en-US" altLang="zh-CN" sz="4800" b="1" dirty="0">
                <a:solidFill>
                  <a:srgbClr val="FF0000"/>
                </a:solidFill>
                <a:effectLst>
                  <a:outerShdw blurRad="50800" dist="38100" dir="8100000" algn="tr" rotWithShape="0">
                    <a:prstClr val="black">
                      <a:alpha val="40000"/>
                    </a:prstClr>
                  </a:outerShdw>
                </a:effectLst>
                <a:latin typeface="+mj-ea"/>
              </a:rPr>
            </a:br>
            <a:r>
              <a:rPr lang="en-US" altLang="zh-CN" sz="4800" b="1" dirty="0" smtClean="0">
                <a:effectLst>
                  <a:outerShdw blurRad="50800" dist="38100" dir="8100000" algn="tr" rotWithShape="0">
                    <a:prstClr val="black">
                      <a:alpha val="40000"/>
                    </a:prstClr>
                  </a:outerShdw>
                </a:effectLst>
                <a:latin typeface="+mj-ea"/>
              </a:rPr>
              <a:t/>
            </a:r>
            <a:br>
              <a:rPr lang="en-US" altLang="zh-CN" sz="4800" b="1" dirty="0" smtClean="0">
                <a:effectLst>
                  <a:outerShdw blurRad="50800" dist="38100" dir="8100000" algn="tr" rotWithShape="0">
                    <a:prstClr val="black">
                      <a:alpha val="40000"/>
                    </a:prstClr>
                  </a:outerShdw>
                </a:effectLst>
                <a:latin typeface="+mj-ea"/>
              </a:rPr>
            </a:br>
            <a:r>
              <a:rPr lang="zh-CN" altLang="en-US" sz="6700" b="1" dirty="0" smtClean="0">
                <a:effectLst>
                  <a:outerShdw blurRad="50800" dist="38100" dir="8100000" algn="tr" rotWithShape="0">
                    <a:prstClr val="black">
                      <a:alpha val="40000"/>
                    </a:prstClr>
                  </a:outerShdw>
                </a:effectLst>
                <a:latin typeface="+mj-ea"/>
              </a:rPr>
              <a:t>道，天，地，将，法</a:t>
            </a:r>
            <a:r>
              <a:rPr lang="en-US" altLang="zh-CN" sz="6700" b="1" dirty="0">
                <a:effectLst>
                  <a:outerShdw blurRad="50800" dist="38100" dir="8100000" algn="tr" rotWithShape="0">
                    <a:prstClr val="black">
                      <a:alpha val="40000"/>
                    </a:prstClr>
                  </a:outerShdw>
                </a:effectLst>
                <a:latin typeface="+mj-ea"/>
              </a:rPr>
              <a:t/>
            </a:r>
            <a:br>
              <a:rPr lang="en-US" altLang="zh-CN" sz="6700" b="1" dirty="0">
                <a:effectLst>
                  <a:outerShdw blurRad="50800" dist="38100" dir="8100000" algn="tr" rotWithShape="0">
                    <a:prstClr val="black">
                      <a:alpha val="40000"/>
                    </a:prstClr>
                  </a:outerShdw>
                </a:effectLst>
                <a:latin typeface="+mj-ea"/>
              </a:rPr>
            </a:br>
            <a:endParaRPr lang="zh-CN" altLang="en-US" sz="6700" b="1" dirty="0">
              <a:effectLst>
                <a:outerShdw blurRad="50800" dist="38100" dir="8100000" algn="tr" rotWithShape="0">
                  <a:prstClr val="black">
                    <a:alpha val="40000"/>
                  </a:prstClr>
                </a:outerShdw>
              </a:effectLst>
              <a:latin typeface="+mj-ea"/>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标题 1"/>
          <p:cNvSpPr>
            <a:spLocks noGrp="1"/>
          </p:cNvSpPr>
          <p:nvPr>
            <p:ph type="title"/>
          </p:nvPr>
        </p:nvSpPr>
        <p:spPr bwMode="auto">
          <a:xfrm>
            <a:off x="431800" y="280988"/>
            <a:ext cx="10367963" cy="1143000"/>
          </a:xfrm>
          <a:noFill/>
          <a:ln>
            <a:miter lim="800000"/>
            <a:headEnd/>
            <a:tailEnd/>
          </a:ln>
        </p:spPr>
        <p:txBody>
          <a:bodyPr vert="horz" wrap="square" lIns="121917" tIns="60958" rIns="121917" bIns="60958" numCol="1" anchor="t" anchorCtr="0" compatLnSpc="1">
            <a:prstTxWarp prst="textNoShape">
              <a:avLst/>
            </a:prstTxWarp>
          </a:bodyPr>
          <a:lstStyle/>
          <a:p>
            <a:r>
              <a:rPr lang="zh-CN" altLang="en-US" sz="3700" smtClean="0"/>
              <a:t>案例分析</a:t>
            </a:r>
            <a:r>
              <a:rPr lang="en-US" altLang="zh-CN" sz="3700" smtClean="0"/>
              <a:t>-</a:t>
            </a:r>
            <a:r>
              <a:rPr lang="zh-CN" altLang="en-US" sz="4000" smtClean="0">
                <a:solidFill>
                  <a:srgbClr val="262626"/>
                </a:solidFill>
              </a:rPr>
              <a:t>美团</a:t>
            </a:r>
            <a:r>
              <a:rPr lang="en-US" altLang="zh-CN" sz="4000" smtClean="0">
                <a:solidFill>
                  <a:srgbClr val="262626"/>
                </a:solidFill>
              </a:rPr>
              <a:t>VS</a:t>
            </a:r>
            <a:r>
              <a:rPr lang="zh-CN" altLang="en-US" sz="4000" smtClean="0">
                <a:solidFill>
                  <a:srgbClr val="262626"/>
                </a:solidFill>
              </a:rPr>
              <a:t>饿了么</a:t>
            </a:r>
            <a:endParaRPr lang="zh-CN" altLang="en-US" sz="3700" smtClean="0"/>
          </a:p>
        </p:txBody>
      </p:sp>
      <p:sp>
        <p:nvSpPr>
          <p:cNvPr id="3" name="文本框 2"/>
          <p:cNvSpPr txBox="1"/>
          <p:nvPr/>
        </p:nvSpPr>
        <p:spPr>
          <a:xfrm>
            <a:off x="4800600" y="1524000"/>
            <a:ext cx="6477000" cy="4633913"/>
          </a:xfrm>
          <a:prstGeom prst="rect">
            <a:avLst/>
          </a:prstGeom>
          <a:noFill/>
        </p:spPr>
        <p:txBody>
          <a:bodyPr lIns="91438" tIns="45719" rIns="91438" bIns="45719">
            <a:spAutoFit/>
          </a:bodyPr>
          <a:lstStyle/>
          <a:p>
            <a:pPr defTabSz="967686">
              <a:lnSpc>
                <a:spcPct val="130000"/>
              </a:lnSpc>
              <a:defRPr/>
            </a:pPr>
            <a:r>
              <a:rPr lang="en-US" altLang="zh-CN" sz="2500" b="1" dirty="0">
                <a:solidFill>
                  <a:prstClr val="black">
                    <a:lumMod val="85000"/>
                    <a:lumOff val="15000"/>
                  </a:prstClr>
                </a:solidFill>
                <a:latin typeface="微软雅黑" panose="020B0503020204020204" pitchFamily="34" charset="-122"/>
                <a:ea typeface="微软雅黑" panose="020B0503020204020204" pitchFamily="34" charset="-122"/>
              </a:rPr>
              <a:t>1. </a:t>
            </a:r>
            <a:r>
              <a:rPr lang="zh-CN" altLang="en-US" sz="2500" b="1" dirty="0">
                <a:solidFill>
                  <a:prstClr val="black">
                    <a:lumMod val="85000"/>
                    <a:lumOff val="15000"/>
                  </a:prstClr>
                </a:solidFill>
                <a:latin typeface="微软雅黑" panose="020B0503020204020204" pitchFamily="34" charset="-122"/>
                <a:ea typeface="微软雅黑" panose="020B0503020204020204" pitchFamily="34" charset="-122"/>
              </a:rPr>
              <a:t>实力悬殊</a:t>
            </a:r>
            <a:endParaRPr lang="en-US" altLang="zh-CN" sz="2500" b="1" dirty="0">
              <a:solidFill>
                <a:prstClr val="black">
                  <a:lumMod val="85000"/>
                  <a:lumOff val="15000"/>
                </a:prstClr>
              </a:solidFill>
              <a:latin typeface="微软雅黑" panose="020B0503020204020204" pitchFamily="34" charset="-122"/>
              <a:ea typeface="微软雅黑" panose="020B0503020204020204" pitchFamily="34" charset="-122"/>
            </a:endParaRPr>
          </a:p>
          <a:p>
            <a:pPr indent="379683" defTabSz="967686">
              <a:lnSpc>
                <a:spcPct val="130000"/>
              </a:lnSpc>
              <a:defRPr/>
            </a:pPr>
            <a:r>
              <a:rPr lang="en-US" altLang="zh-CN" sz="1900" dirty="0">
                <a:solidFill>
                  <a:prstClr val="black">
                    <a:lumMod val="85000"/>
                    <a:lumOff val="15000"/>
                  </a:prstClr>
                </a:solidFill>
                <a:latin typeface="微软雅黑" panose="020B0503020204020204" pitchFamily="34" charset="-122"/>
                <a:ea typeface="微软雅黑" panose="020B0503020204020204" pitchFamily="34" charset="-122"/>
              </a:rPr>
              <a:t>2015</a:t>
            </a:r>
            <a:r>
              <a:rPr lang="zh-CN" altLang="en-US" sz="1900" dirty="0">
                <a:solidFill>
                  <a:prstClr val="black">
                    <a:lumMod val="85000"/>
                    <a:lumOff val="15000"/>
                  </a:prstClr>
                </a:solidFill>
                <a:latin typeface="微软雅黑" panose="020B0503020204020204" pitchFamily="34" charset="-122"/>
                <a:ea typeface="微软雅黑" panose="020B0503020204020204" pitchFamily="34" charset="-122"/>
              </a:rPr>
              <a:t>年，美团估值</a:t>
            </a:r>
            <a:r>
              <a:rPr lang="en-US" altLang="zh-CN" sz="1900" dirty="0">
                <a:solidFill>
                  <a:prstClr val="black">
                    <a:lumMod val="85000"/>
                    <a:lumOff val="15000"/>
                  </a:prstClr>
                </a:solidFill>
                <a:latin typeface="微软雅黑" panose="020B0503020204020204" pitchFamily="34" charset="-122"/>
                <a:ea typeface="微软雅黑" panose="020B0503020204020204" pitchFamily="34" charset="-122"/>
              </a:rPr>
              <a:t>70</a:t>
            </a:r>
            <a:r>
              <a:rPr lang="zh-CN" altLang="en-US" sz="1900" dirty="0">
                <a:solidFill>
                  <a:prstClr val="black">
                    <a:lumMod val="85000"/>
                    <a:lumOff val="15000"/>
                  </a:prstClr>
                </a:solidFill>
                <a:latin typeface="微软雅黑" panose="020B0503020204020204" pitchFamily="34" charset="-122"/>
                <a:ea typeface="微软雅黑" panose="020B0503020204020204" pitchFamily="34" charset="-122"/>
              </a:rPr>
              <a:t>亿美元，重金投入外卖业务，兴起补贴大战；百度外卖依托百度资本和流量优势，强势崛起。饿了么估值仅</a:t>
            </a:r>
            <a:r>
              <a:rPr lang="en-US" altLang="zh-CN" sz="1900" dirty="0">
                <a:solidFill>
                  <a:prstClr val="black">
                    <a:lumMod val="85000"/>
                    <a:lumOff val="15000"/>
                  </a:prstClr>
                </a:solidFill>
                <a:latin typeface="微软雅黑" panose="020B0503020204020204" pitchFamily="34" charset="-122"/>
                <a:ea typeface="微软雅黑" panose="020B0503020204020204" pitchFamily="34" charset="-122"/>
              </a:rPr>
              <a:t>7</a:t>
            </a:r>
            <a:r>
              <a:rPr lang="zh-CN" altLang="en-US" sz="1900" dirty="0">
                <a:solidFill>
                  <a:prstClr val="black">
                    <a:lumMod val="85000"/>
                    <a:lumOff val="15000"/>
                  </a:prstClr>
                </a:solidFill>
                <a:latin typeface="微软雅黑" panose="020B0503020204020204" pitchFamily="34" charset="-122"/>
                <a:ea typeface="微软雅黑" panose="020B0503020204020204" pitchFamily="34" charset="-122"/>
              </a:rPr>
              <a:t>亿美元，补贴大战中资金匮乏，仅可支撑</a:t>
            </a:r>
            <a:r>
              <a:rPr lang="en-US" altLang="zh-CN" sz="1900" dirty="0">
                <a:solidFill>
                  <a:prstClr val="black">
                    <a:lumMod val="85000"/>
                    <a:lumOff val="15000"/>
                  </a:prstClr>
                </a:solidFill>
                <a:latin typeface="微软雅黑" panose="020B0503020204020204" pitchFamily="34" charset="-122"/>
                <a:ea typeface="微软雅黑" panose="020B0503020204020204" pitchFamily="34" charset="-122"/>
              </a:rPr>
              <a:t>2-3</a:t>
            </a:r>
            <a:r>
              <a:rPr lang="zh-CN" altLang="en-US" sz="1900" dirty="0">
                <a:solidFill>
                  <a:prstClr val="black">
                    <a:lumMod val="85000"/>
                    <a:lumOff val="15000"/>
                  </a:prstClr>
                </a:solidFill>
                <a:latin typeface="微软雅黑" panose="020B0503020204020204" pitchFamily="34" charset="-122"/>
                <a:ea typeface="微软雅黑" panose="020B0503020204020204" pitchFamily="34" charset="-122"/>
              </a:rPr>
              <a:t>个月。</a:t>
            </a:r>
            <a:endParaRPr lang="en-US" altLang="zh-CN" sz="1900" dirty="0">
              <a:solidFill>
                <a:prstClr val="black">
                  <a:lumMod val="85000"/>
                  <a:lumOff val="15000"/>
                </a:prstClr>
              </a:solidFill>
              <a:latin typeface="微软雅黑" panose="020B0503020204020204" pitchFamily="34" charset="-122"/>
              <a:ea typeface="微软雅黑" panose="020B0503020204020204" pitchFamily="34" charset="-122"/>
            </a:endParaRPr>
          </a:p>
          <a:p>
            <a:pPr defTabSz="967686">
              <a:lnSpc>
                <a:spcPct val="130000"/>
              </a:lnSpc>
              <a:defRPr/>
            </a:pPr>
            <a:r>
              <a:rPr lang="en-US" altLang="zh-CN" sz="2500" b="1" dirty="0">
                <a:solidFill>
                  <a:prstClr val="black">
                    <a:lumMod val="85000"/>
                    <a:lumOff val="15000"/>
                  </a:prstClr>
                </a:solidFill>
                <a:latin typeface="微软雅黑" panose="020B0503020204020204" pitchFamily="34" charset="-122"/>
                <a:ea typeface="微软雅黑" panose="020B0503020204020204" pitchFamily="34" charset="-122"/>
              </a:rPr>
              <a:t>2. </a:t>
            </a:r>
            <a:r>
              <a:rPr lang="zh-CN" altLang="en-US" sz="2500" b="1" dirty="0">
                <a:solidFill>
                  <a:prstClr val="black">
                    <a:lumMod val="85000"/>
                    <a:lumOff val="15000"/>
                  </a:prstClr>
                </a:solidFill>
                <a:latin typeface="微软雅黑" panose="020B0503020204020204" pitchFamily="34" charset="-122"/>
                <a:ea typeface="微软雅黑" panose="020B0503020204020204" pitchFamily="34" charset="-122"/>
              </a:rPr>
              <a:t>知名度低</a:t>
            </a:r>
            <a:endParaRPr lang="en-US" altLang="zh-CN" sz="2500" b="1" dirty="0">
              <a:solidFill>
                <a:prstClr val="black">
                  <a:lumMod val="85000"/>
                  <a:lumOff val="15000"/>
                </a:prstClr>
              </a:solidFill>
              <a:latin typeface="微软雅黑" panose="020B0503020204020204" pitchFamily="34" charset="-122"/>
              <a:ea typeface="微软雅黑" panose="020B0503020204020204" pitchFamily="34" charset="-122"/>
            </a:endParaRPr>
          </a:p>
          <a:p>
            <a:pPr indent="379683" defTabSz="967686">
              <a:lnSpc>
                <a:spcPct val="130000"/>
              </a:lnSpc>
              <a:defRPr/>
            </a:pPr>
            <a:r>
              <a:rPr lang="zh-CN" altLang="en-US" sz="1900" dirty="0">
                <a:solidFill>
                  <a:prstClr val="black">
                    <a:lumMod val="85000"/>
                    <a:lumOff val="15000"/>
                  </a:prstClr>
                </a:solidFill>
                <a:latin typeface="微软雅黑" panose="020B0503020204020204" pitchFamily="34" charset="-122"/>
                <a:ea typeface="微软雅黑" panose="020B0503020204020204" pitchFamily="34" charset="-122"/>
              </a:rPr>
              <a:t>美团、百度已经被白领群体熟知，而饿了么仅在校园市场知名，在白领市场知名度低。</a:t>
            </a:r>
            <a:endParaRPr lang="en-US" altLang="zh-CN" sz="1900" dirty="0">
              <a:solidFill>
                <a:prstClr val="black">
                  <a:lumMod val="85000"/>
                  <a:lumOff val="15000"/>
                </a:prstClr>
              </a:solidFill>
              <a:latin typeface="微软雅黑" panose="020B0503020204020204" pitchFamily="34" charset="-122"/>
              <a:ea typeface="微软雅黑" panose="020B0503020204020204" pitchFamily="34" charset="-122"/>
            </a:endParaRPr>
          </a:p>
          <a:p>
            <a:pPr defTabSz="967686">
              <a:lnSpc>
                <a:spcPct val="130000"/>
              </a:lnSpc>
              <a:defRPr/>
            </a:pPr>
            <a:r>
              <a:rPr lang="en-US" altLang="zh-CN" sz="2500" b="1" dirty="0">
                <a:solidFill>
                  <a:prstClr val="black">
                    <a:lumMod val="85000"/>
                    <a:lumOff val="15000"/>
                  </a:prstClr>
                </a:solidFill>
                <a:latin typeface="微软雅黑" panose="020B0503020204020204" pitchFamily="34" charset="-122"/>
                <a:ea typeface="微软雅黑" panose="020B0503020204020204" pitchFamily="34" charset="-122"/>
              </a:rPr>
              <a:t>3. </a:t>
            </a:r>
            <a:r>
              <a:rPr lang="zh-CN" altLang="en-US" sz="2500" b="1" dirty="0">
                <a:solidFill>
                  <a:prstClr val="black">
                    <a:lumMod val="85000"/>
                    <a:lumOff val="15000"/>
                  </a:prstClr>
                </a:solidFill>
                <a:latin typeface="微软雅黑" panose="020B0503020204020204" pitchFamily="34" charset="-122"/>
                <a:ea typeface="微软雅黑" panose="020B0503020204020204" pitchFamily="34" charset="-122"/>
              </a:rPr>
              <a:t>经验落后</a:t>
            </a:r>
            <a:endParaRPr lang="en-US" altLang="zh-CN" sz="2500" b="1" dirty="0">
              <a:solidFill>
                <a:prstClr val="black">
                  <a:lumMod val="85000"/>
                  <a:lumOff val="15000"/>
                </a:prstClr>
              </a:solidFill>
              <a:latin typeface="微软雅黑" panose="020B0503020204020204" pitchFamily="34" charset="-122"/>
              <a:ea typeface="微软雅黑" panose="020B0503020204020204" pitchFamily="34" charset="-122"/>
            </a:endParaRPr>
          </a:p>
          <a:p>
            <a:pPr indent="379683" defTabSz="967686">
              <a:lnSpc>
                <a:spcPct val="130000"/>
              </a:lnSpc>
              <a:defRPr/>
            </a:pPr>
            <a:r>
              <a:rPr lang="zh-CN" altLang="en-US" sz="1900" dirty="0">
                <a:solidFill>
                  <a:prstClr val="black">
                    <a:lumMod val="85000"/>
                    <a:lumOff val="15000"/>
                  </a:prstClr>
                </a:solidFill>
                <a:latin typeface="微软雅黑" panose="020B0503020204020204" pitchFamily="34" charset="-122"/>
                <a:ea typeface="微软雅黑" panose="020B0503020204020204" pitchFamily="34" charset="-122"/>
              </a:rPr>
              <a:t>美团地面部队经历过千团大战，地推布局和团队经验明显优于饿了么。</a:t>
            </a:r>
            <a:endParaRPr lang="en-US" altLang="zh-CN" sz="1900" dirty="0">
              <a:solidFill>
                <a:prstClr val="black">
                  <a:lumMod val="85000"/>
                  <a:lumOff val="15000"/>
                </a:prstClr>
              </a:solidFill>
              <a:latin typeface="微软雅黑" panose="020B0503020204020204" pitchFamily="34" charset="-122"/>
              <a:ea typeface="微软雅黑" panose="020B0503020204020204" pitchFamily="34" charset="-122"/>
            </a:endParaRPr>
          </a:p>
        </p:txBody>
      </p:sp>
      <p:pic>
        <p:nvPicPr>
          <p:cNvPr id="60419" name="图片 3"/>
          <p:cNvPicPr>
            <a:picLocks noChangeAspect="1"/>
          </p:cNvPicPr>
          <p:nvPr/>
        </p:nvPicPr>
        <p:blipFill>
          <a:blip r:embed="rId2"/>
          <a:srcRect/>
          <a:stretch>
            <a:fillRect/>
          </a:stretch>
        </p:blipFill>
        <p:spPr bwMode="auto">
          <a:xfrm>
            <a:off x="914400" y="2819400"/>
            <a:ext cx="3752850" cy="2057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标题 1"/>
          <p:cNvSpPr>
            <a:spLocks noGrp="1"/>
          </p:cNvSpPr>
          <p:nvPr>
            <p:ph type="title"/>
          </p:nvPr>
        </p:nvSpPr>
        <p:spPr bwMode="auto">
          <a:xfrm>
            <a:off x="998538" y="439738"/>
            <a:ext cx="10972800" cy="1143000"/>
          </a:xfrm>
          <a:noFill/>
          <a:ln>
            <a:miter lim="800000"/>
            <a:headEnd/>
            <a:tailEnd/>
          </a:ln>
        </p:spPr>
        <p:txBody>
          <a:bodyPr vert="horz" wrap="square" lIns="121917" tIns="60958" rIns="121917" bIns="60958" numCol="1" anchor="t" anchorCtr="0" compatLnSpc="1">
            <a:prstTxWarp prst="textNoShape">
              <a:avLst/>
            </a:prstTxWarp>
          </a:bodyPr>
          <a:lstStyle/>
          <a:p>
            <a:r>
              <a:rPr lang="zh-CN" altLang="en-US" sz="3700" smtClean="0"/>
              <a:t>抢占心智，饿了么奇袭巨头</a:t>
            </a:r>
          </a:p>
        </p:txBody>
      </p:sp>
      <p:pic>
        <p:nvPicPr>
          <p:cNvPr id="61442" name="图片 4"/>
          <p:cNvPicPr>
            <a:picLocks noChangeAspect="1"/>
          </p:cNvPicPr>
          <p:nvPr/>
        </p:nvPicPr>
        <p:blipFill>
          <a:blip r:embed="rId2"/>
          <a:srcRect/>
          <a:stretch>
            <a:fillRect/>
          </a:stretch>
        </p:blipFill>
        <p:spPr bwMode="auto">
          <a:xfrm>
            <a:off x="2625725" y="1884363"/>
            <a:ext cx="971550" cy="939800"/>
          </a:xfrm>
          <a:prstGeom prst="rect">
            <a:avLst/>
          </a:prstGeom>
          <a:noFill/>
          <a:ln w="9525">
            <a:noFill/>
            <a:miter lim="800000"/>
            <a:headEnd/>
            <a:tailEnd/>
          </a:ln>
        </p:spPr>
      </p:pic>
      <p:pic>
        <p:nvPicPr>
          <p:cNvPr id="61443" name="图片 5"/>
          <p:cNvPicPr>
            <a:picLocks noChangeAspect="1"/>
          </p:cNvPicPr>
          <p:nvPr/>
        </p:nvPicPr>
        <p:blipFill>
          <a:blip r:embed="rId3"/>
          <a:srcRect/>
          <a:stretch>
            <a:fillRect/>
          </a:stretch>
        </p:blipFill>
        <p:spPr bwMode="auto">
          <a:xfrm>
            <a:off x="1635125" y="1927225"/>
            <a:ext cx="936625" cy="896938"/>
          </a:xfrm>
          <a:prstGeom prst="rect">
            <a:avLst/>
          </a:prstGeom>
          <a:noFill/>
          <a:ln w="9525">
            <a:noFill/>
            <a:miter lim="800000"/>
            <a:headEnd/>
            <a:tailEnd/>
          </a:ln>
        </p:spPr>
      </p:pic>
      <p:pic>
        <p:nvPicPr>
          <p:cNvPr id="61444" name="图片 6"/>
          <p:cNvPicPr>
            <a:picLocks noChangeAspect="1"/>
          </p:cNvPicPr>
          <p:nvPr/>
        </p:nvPicPr>
        <p:blipFill>
          <a:blip r:embed="rId4"/>
          <a:srcRect/>
          <a:stretch>
            <a:fillRect/>
          </a:stretch>
        </p:blipFill>
        <p:spPr bwMode="auto">
          <a:xfrm>
            <a:off x="1600200" y="3792538"/>
            <a:ext cx="1230313" cy="1230312"/>
          </a:xfrm>
          <a:prstGeom prst="rect">
            <a:avLst/>
          </a:prstGeom>
          <a:noFill/>
          <a:ln w="9525">
            <a:noFill/>
            <a:miter lim="800000"/>
            <a:headEnd/>
            <a:tailEnd/>
          </a:ln>
        </p:spPr>
      </p:pic>
      <p:sp>
        <p:nvSpPr>
          <p:cNvPr id="8" name="KSO_Shape"/>
          <p:cNvSpPr/>
          <p:nvPr/>
        </p:nvSpPr>
        <p:spPr>
          <a:xfrm rot="2935860">
            <a:off x="4430713" y="2003425"/>
            <a:ext cx="2108200" cy="1393825"/>
          </a:xfrm>
          <a:custGeom>
            <a:avLst/>
            <a:gdLst>
              <a:gd name="connsiteX0" fmla="*/ 1720704 w 1721074"/>
              <a:gd name="connsiteY0" fmla="*/ 0 h 1180530"/>
              <a:gd name="connsiteX1" fmla="*/ 1721074 w 1721074"/>
              <a:gd name="connsiteY1" fmla="*/ 328961 h 1180530"/>
              <a:gd name="connsiteX2" fmla="*/ 1609393 w 1721074"/>
              <a:gd name="connsiteY2" fmla="*/ 253106 h 1180530"/>
              <a:gd name="connsiteX3" fmla="*/ 1153934 w 1721074"/>
              <a:gd name="connsiteY3" fmla="*/ 933995 h 1180530"/>
              <a:gd name="connsiteX4" fmla="*/ 899597 w 1721074"/>
              <a:gd name="connsiteY4" fmla="*/ 519521 h 1180530"/>
              <a:gd name="connsiteX5" fmla="*/ 532223 w 1721074"/>
              <a:gd name="connsiteY5" fmla="*/ 1009354 h 1180530"/>
              <a:gd name="connsiteX6" fmla="*/ 292016 w 1721074"/>
              <a:gd name="connsiteY6" fmla="*/ 792697 h 1180530"/>
              <a:gd name="connsiteX7" fmla="*/ 0 w 1721074"/>
              <a:gd name="connsiteY7" fmla="*/ 1180530 h 1180530"/>
              <a:gd name="connsiteX8" fmla="*/ 0 w 1721074"/>
              <a:gd name="connsiteY8" fmla="*/ 996382 h 1180530"/>
              <a:gd name="connsiteX9" fmla="*/ 277886 w 1721074"/>
              <a:gd name="connsiteY9" fmla="*/ 613720 h 1180530"/>
              <a:gd name="connsiteX10" fmla="*/ 503963 w 1721074"/>
              <a:gd name="connsiteY10" fmla="*/ 839796 h 1180530"/>
              <a:gd name="connsiteX11" fmla="*/ 923147 w 1721074"/>
              <a:gd name="connsiteY11" fmla="*/ 316994 h 1180530"/>
              <a:gd name="connsiteX12" fmla="*/ 1158644 w 1721074"/>
              <a:gd name="connsiteY12" fmla="*/ 731468 h 1180530"/>
              <a:gd name="connsiteX13" fmla="*/ 1529274 w 1721074"/>
              <a:gd name="connsiteY13" fmla="*/ 198688 h 1180530"/>
              <a:gd name="connsiteX14" fmla="*/ 1414772 w 1721074"/>
              <a:gd name="connsiteY14" fmla="*/ 120917 h 1180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1074" h="1180530">
                <a:moveTo>
                  <a:pt x="1720704" y="0"/>
                </a:moveTo>
                <a:lnTo>
                  <a:pt x="1721074" y="328961"/>
                </a:lnTo>
                <a:lnTo>
                  <a:pt x="1609393" y="253106"/>
                </a:lnTo>
                <a:lnTo>
                  <a:pt x="1153934" y="933995"/>
                </a:lnTo>
                <a:lnTo>
                  <a:pt x="899597" y="519521"/>
                </a:lnTo>
                <a:lnTo>
                  <a:pt x="532223" y="1009354"/>
                </a:lnTo>
                <a:lnTo>
                  <a:pt x="292016" y="792697"/>
                </a:lnTo>
                <a:lnTo>
                  <a:pt x="0" y="1180530"/>
                </a:lnTo>
                <a:lnTo>
                  <a:pt x="0" y="996382"/>
                </a:lnTo>
                <a:lnTo>
                  <a:pt x="277886" y="613720"/>
                </a:lnTo>
                <a:lnTo>
                  <a:pt x="503963" y="839796"/>
                </a:lnTo>
                <a:lnTo>
                  <a:pt x="923147" y="316994"/>
                </a:lnTo>
                <a:lnTo>
                  <a:pt x="1158644" y="731468"/>
                </a:lnTo>
                <a:lnTo>
                  <a:pt x="1529274" y="198688"/>
                </a:lnTo>
                <a:lnTo>
                  <a:pt x="1414772" y="120917"/>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577" tIns="36288" rIns="72577" bIns="36288"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67686" eaLnBrk="1" fontAlgn="auto" hangingPunct="1">
              <a:lnSpc>
                <a:spcPct val="130000"/>
              </a:lnSpc>
              <a:spcBef>
                <a:spcPts val="0"/>
              </a:spcBef>
              <a:spcAft>
                <a:spcPts val="0"/>
              </a:spcAft>
              <a:defRPr/>
            </a:pPr>
            <a:endParaRPr lang="zh-CN" altLang="en-US" sz="2900" b="1" dirty="0">
              <a:solidFill>
                <a:srgbClr val="FFFFFF"/>
              </a:solidFill>
            </a:endParaRPr>
          </a:p>
        </p:txBody>
      </p:sp>
      <p:sp>
        <p:nvSpPr>
          <p:cNvPr id="9" name="KSO_Shape"/>
          <p:cNvSpPr/>
          <p:nvPr/>
        </p:nvSpPr>
        <p:spPr>
          <a:xfrm rot="20805447">
            <a:off x="4187825" y="3709988"/>
            <a:ext cx="2693988" cy="1023937"/>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67686" eaLnBrk="1" fontAlgn="auto" hangingPunct="1">
              <a:lnSpc>
                <a:spcPct val="130000"/>
              </a:lnSpc>
              <a:spcBef>
                <a:spcPts val="0"/>
              </a:spcBef>
              <a:spcAft>
                <a:spcPts val="0"/>
              </a:spcAft>
              <a:defRPr/>
            </a:pPr>
            <a:endParaRPr lang="zh-CN" altLang="en-US" sz="2900" b="1" dirty="0">
              <a:solidFill>
                <a:srgbClr val="FFFFFF"/>
              </a:solidFill>
            </a:endParaRPr>
          </a:p>
        </p:txBody>
      </p:sp>
      <p:pic>
        <p:nvPicPr>
          <p:cNvPr id="61447" name="图片 9"/>
          <p:cNvPicPr>
            <a:picLocks noChangeAspect="1"/>
          </p:cNvPicPr>
          <p:nvPr/>
        </p:nvPicPr>
        <p:blipFill>
          <a:blip r:embed="rId5"/>
          <a:srcRect/>
          <a:stretch>
            <a:fillRect/>
          </a:stretch>
        </p:blipFill>
        <p:spPr bwMode="auto">
          <a:xfrm>
            <a:off x="8928100" y="4914900"/>
            <a:ext cx="1006475" cy="1343025"/>
          </a:xfrm>
          <a:prstGeom prst="rect">
            <a:avLst/>
          </a:prstGeom>
          <a:noFill/>
          <a:ln w="9525">
            <a:noFill/>
            <a:miter lim="800000"/>
            <a:headEnd/>
            <a:tailEnd/>
          </a:ln>
        </p:spPr>
      </p:pic>
      <p:pic>
        <p:nvPicPr>
          <p:cNvPr id="61448" name="图片 10"/>
          <p:cNvPicPr>
            <a:picLocks noChangeAspect="1"/>
          </p:cNvPicPr>
          <p:nvPr/>
        </p:nvPicPr>
        <p:blipFill>
          <a:blip r:embed="rId6"/>
          <a:srcRect/>
          <a:stretch>
            <a:fillRect/>
          </a:stretch>
        </p:blipFill>
        <p:spPr bwMode="auto">
          <a:xfrm>
            <a:off x="6748463" y="4914900"/>
            <a:ext cx="1008062" cy="1343025"/>
          </a:xfrm>
          <a:prstGeom prst="rect">
            <a:avLst/>
          </a:prstGeom>
          <a:noFill/>
          <a:ln w="9525">
            <a:noFill/>
            <a:miter lim="800000"/>
            <a:headEnd/>
            <a:tailEnd/>
          </a:ln>
        </p:spPr>
      </p:pic>
      <p:pic>
        <p:nvPicPr>
          <p:cNvPr id="61449" name="图片 11"/>
          <p:cNvPicPr>
            <a:picLocks noChangeAspect="1"/>
          </p:cNvPicPr>
          <p:nvPr/>
        </p:nvPicPr>
        <p:blipFill>
          <a:blip r:embed="rId7"/>
          <a:srcRect/>
          <a:stretch>
            <a:fillRect/>
          </a:stretch>
        </p:blipFill>
        <p:spPr bwMode="auto">
          <a:xfrm>
            <a:off x="7831138" y="4914900"/>
            <a:ext cx="1006475" cy="1343025"/>
          </a:xfrm>
          <a:prstGeom prst="rect">
            <a:avLst/>
          </a:prstGeom>
          <a:noFill/>
          <a:ln w="9525">
            <a:noFill/>
            <a:miter lim="800000"/>
            <a:headEnd/>
            <a:tailEnd/>
          </a:ln>
        </p:spPr>
      </p:pic>
      <p:sp>
        <p:nvSpPr>
          <p:cNvPr id="61450" name="文本框 12"/>
          <p:cNvSpPr txBox="1">
            <a:spLocks noChangeArrowheads="1"/>
          </p:cNvSpPr>
          <p:nvPr/>
        </p:nvSpPr>
        <p:spPr bwMode="auto">
          <a:xfrm>
            <a:off x="3082925" y="4783138"/>
            <a:ext cx="3956050" cy="1233487"/>
          </a:xfrm>
          <a:prstGeom prst="rect">
            <a:avLst/>
          </a:prstGeom>
          <a:noFill/>
          <a:ln w="9525">
            <a:noFill/>
            <a:miter lim="800000"/>
            <a:headEnd/>
            <a:tailEnd/>
          </a:ln>
        </p:spPr>
        <p:txBody>
          <a:bodyPr lIns="91438" tIns="45719" rIns="91438" bIns="45719">
            <a:spAutoFit/>
          </a:bodyPr>
          <a:lstStyle/>
          <a:p>
            <a:pPr marL="301625" indent="-301625" defTabSz="966788">
              <a:lnSpc>
                <a:spcPct val="130000"/>
              </a:lnSpc>
              <a:buFont typeface="Arial" charset="0"/>
              <a:buChar char="•"/>
            </a:pPr>
            <a:r>
              <a:rPr lang="zh-CN" altLang="en-US" sz="1900">
                <a:solidFill>
                  <a:srgbClr val="262626"/>
                </a:solidFill>
                <a:latin typeface="微软雅黑" pitchFamily="34" charset="-122"/>
                <a:ea typeface="微软雅黑" pitchFamily="34" charset="-122"/>
              </a:rPr>
              <a:t>近亿元广告预算集中电梯媒体</a:t>
            </a:r>
            <a:endParaRPr lang="en-US" altLang="zh-CN" sz="1900">
              <a:solidFill>
                <a:srgbClr val="262626"/>
              </a:solidFill>
              <a:latin typeface="微软雅黑" pitchFamily="34" charset="-122"/>
              <a:ea typeface="微软雅黑" pitchFamily="34" charset="-122"/>
            </a:endParaRPr>
          </a:p>
          <a:p>
            <a:pPr marL="301625" indent="-301625" defTabSz="966788">
              <a:lnSpc>
                <a:spcPct val="130000"/>
              </a:lnSpc>
              <a:buFont typeface="Arial" charset="0"/>
              <a:buChar char="•"/>
            </a:pPr>
            <a:r>
              <a:rPr lang="zh-CN" altLang="en-US" sz="1900">
                <a:solidFill>
                  <a:srgbClr val="262626"/>
                </a:solidFill>
                <a:latin typeface="微软雅黑" pitchFamily="34" charset="-122"/>
                <a:ea typeface="微软雅黑" pitchFamily="34" charset="-122"/>
              </a:rPr>
              <a:t>风暴式饱和打击</a:t>
            </a:r>
            <a:endParaRPr lang="en-US" altLang="zh-CN" sz="1900">
              <a:solidFill>
                <a:srgbClr val="262626"/>
              </a:solidFill>
              <a:latin typeface="微软雅黑" pitchFamily="34" charset="-122"/>
              <a:ea typeface="微软雅黑" pitchFamily="34" charset="-122"/>
            </a:endParaRPr>
          </a:p>
          <a:p>
            <a:pPr marL="301625" indent="-301625" defTabSz="966788">
              <a:lnSpc>
                <a:spcPct val="130000"/>
              </a:lnSpc>
              <a:buFont typeface="Arial" charset="0"/>
              <a:buChar char="•"/>
            </a:pPr>
            <a:r>
              <a:rPr lang="en-US" altLang="zh-CN" sz="1900">
                <a:solidFill>
                  <a:srgbClr val="262626"/>
                </a:solidFill>
                <a:latin typeface="微软雅黑" pitchFamily="34" charset="-122"/>
                <a:ea typeface="微软雅黑" pitchFamily="34" charset="-122"/>
              </a:rPr>
              <a:t>8</a:t>
            </a:r>
            <a:r>
              <a:rPr lang="zh-CN" altLang="en-US" sz="1900">
                <a:solidFill>
                  <a:srgbClr val="262626"/>
                </a:solidFill>
                <a:latin typeface="微软雅黑" pitchFamily="34" charset="-122"/>
                <a:ea typeface="微软雅黑" pitchFamily="34" charset="-122"/>
              </a:rPr>
              <a:t>周投放，完成逆袭</a:t>
            </a:r>
          </a:p>
        </p:txBody>
      </p:sp>
      <p:sp>
        <p:nvSpPr>
          <p:cNvPr id="14" name="KSO_Shape"/>
          <p:cNvSpPr>
            <a:spLocks/>
          </p:cNvSpPr>
          <p:nvPr/>
        </p:nvSpPr>
        <p:spPr bwMode="auto">
          <a:xfrm>
            <a:off x="5673725" y="1847850"/>
            <a:ext cx="811213" cy="666750"/>
          </a:xfrm>
          <a:custGeom>
            <a:avLst/>
            <a:gdLst/>
            <a:ahLst/>
            <a:cxnLst/>
            <a:rect l="0" t="0" r="r" b="b"/>
            <a:pathLst>
              <a:path w="1903412" h="1563688">
                <a:moveTo>
                  <a:pt x="872180" y="1544638"/>
                </a:moveTo>
                <a:lnTo>
                  <a:pt x="875675" y="1544638"/>
                </a:lnTo>
                <a:lnTo>
                  <a:pt x="1859905" y="1544638"/>
                </a:lnTo>
                <a:lnTo>
                  <a:pt x="1863400" y="1544638"/>
                </a:lnTo>
                <a:lnTo>
                  <a:pt x="1866577" y="1545233"/>
                </a:lnTo>
                <a:lnTo>
                  <a:pt x="1869118" y="1545829"/>
                </a:lnTo>
                <a:lnTo>
                  <a:pt x="1871660" y="1546722"/>
                </a:lnTo>
                <a:lnTo>
                  <a:pt x="1873884" y="1547912"/>
                </a:lnTo>
                <a:lnTo>
                  <a:pt x="1875154" y="1549103"/>
                </a:lnTo>
                <a:lnTo>
                  <a:pt x="1876107" y="1550591"/>
                </a:lnTo>
                <a:lnTo>
                  <a:pt x="1876425" y="1552079"/>
                </a:lnTo>
                <a:lnTo>
                  <a:pt x="1876425" y="1555651"/>
                </a:lnTo>
                <a:lnTo>
                  <a:pt x="1876107" y="1557140"/>
                </a:lnTo>
                <a:lnTo>
                  <a:pt x="1875154" y="1558926"/>
                </a:lnTo>
                <a:lnTo>
                  <a:pt x="1873884" y="1560116"/>
                </a:lnTo>
                <a:lnTo>
                  <a:pt x="1871660" y="1561307"/>
                </a:lnTo>
                <a:lnTo>
                  <a:pt x="1869118" y="1562200"/>
                </a:lnTo>
                <a:lnTo>
                  <a:pt x="1866577" y="1563093"/>
                </a:lnTo>
                <a:lnTo>
                  <a:pt x="1863400" y="1563390"/>
                </a:lnTo>
                <a:lnTo>
                  <a:pt x="1859905" y="1563688"/>
                </a:lnTo>
                <a:lnTo>
                  <a:pt x="875675" y="1563688"/>
                </a:lnTo>
                <a:lnTo>
                  <a:pt x="872180" y="1563390"/>
                </a:lnTo>
                <a:lnTo>
                  <a:pt x="869003" y="1563093"/>
                </a:lnTo>
                <a:lnTo>
                  <a:pt x="866144" y="1562200"/>
                </a:lnTo>
                <a:lnTo>
                  <a:pt x="863603" y="1561307"/>
                </a:lnTo>
                <a:lnTo>
                  <a:pt x="861696" y="1560116"/>
                </a:lnTo>
                <a:lnTo>
                  <a:pt x="860108" y="1558926"/>
                </a:lnTo>
                <a:lnTo>
                  <a:pt x="859155" y="1557140"/>
                </a:lnTo>
                <a:lnTo>
                  <a:pt x="858837" y="1555651"/>
                </a:lnTo>
                <a:lnTo>
                  <a:pt x="858837" y="1552079"/>
                </a:lnTo>
                <a:lnTo>
                  <a:pt x="859155" y="1550591"/>
                </a:lnTo>
                <a:lnTo>
                  <a:pt x="860108" y="1549103"/>
                </a:lnTo>
                <a:lnTo>
                  <a:pt x="861696" y="1547912"/>
                </a:lnTo>
                <a:lnTo>
                  <a:pt x="863603" y="1546722"/>
                </a:lnTo>
                <a:lnTo>
                  <a:pt x="866144" y="1545829"/>
                </a:lnTo>
                <a:lnTo>
                  <a:pt x="869003" y="1545233"/>
                </a:lnTo>
                <a:lnTo>
                  <a:pt x="872180" y="1544638"/>
                </a:lnTo>
                <a:close/>
                <a:moveTo>
                  <a:pt x="1255848" y="1415770"/>
                </a:moveTo>
                <a:lnTo>
                  <a:pt x="1252677" y="1416407"/>
                </a:lnTo>
                <a:lnTo>
                  <a:pt x="1249823" y="1417361"/>
                </a:lnTo>
                <a:lnTo>
                  <a:pt x="1247286" y="1419271"/>
                </a:lnTo>
                <a:lnTo>
                  <a:pt x="1245383" y="1420862"/>
                </a:lnTo>
                <a:lnTo>
                  <a:pt x="1243797" y="1422771"/>
                </a:lnTo>
                <a:lnTo>
                  <a:pt x="1242529" y="1424680"/>
                </a:lnTo>
                <a:lnTo>
                  <a:pt x="1242212" y="1426908"/>
                </a:lnTo>
                <a:lnTo>
                  <a:pt x="1235235" y="1522691"/>
                </a:lnTo>
                <a:lnTo>
                  <a:pt x="1235235" y="1525237"/>
                </a:lnTo>
                <a:lnTo>
                  <a:pt x="1236186" y="1527146"/>
                </a:lnTo>
                <a:lnTo>
                  <a:pt x="1237772" y="1529056"/>
                </a:lnTo>
                <a:lnTo>
                  <a:pt x="1239675" y="1530647"/>
                </a:lnTo>
                <a:lnTo>
                  <a:pt x="1242212" y="1532238"/>
                </a:lnTo>
                <a:lnTo>
                  <a:pt x="1245066" y="1533193"/>
                </a:lnTo>
                <a:lnTo>
                  <a:pt x="1247920" y="1533829"/>
                </a:lnTo>
                <a:lnTo>
                  <a:pt x="1251408" y="1534147"/>
                </a:lnTo>
                <a:lnTo>
                  <a:pt x="1488299" y="1535738"/>
                </a:lnTo>
                <a:lnTo>
                  <a:pt x="1491787" y="1535738"/>
                </a:lnTo>
                <a:lnTo>
                  <a:pt x="1494641" y="1535102"/>
                </a:lnTo>
                <a:lnTo>
                  <a:pt x="1497813" y="1533829"/>
                </a:lnTo>
                <a:lnTo>
                  <a:pt x="1500032" y="1532556"/>
                </a:lnTo>
                <a:lnTo>
                  <a:pt x="1502252" y="1530965"/>
                </a:lnTo>
                <a:lnTo>
                  <a:pt x="1503521" y="1529056"/>
                </a:lnTo>
                <a:lnTo>
                  <a:pt x="1504472" y="1526828"/>
                </a:lnTo>
                <a:lnTo>
                  <a:pt x="1504789" y="1524601"/>
                </a:lnTo>
                <a:lnTo>
                  <a:pt x="1499715" y="1428181"/>
                </a:lnTo>
                <a:lnTo>
                  <a:pt x="1499398" y="1425953"/>
                </a:lnTo>
                <a:lnTo>
                  <a:pt x="1498130" y="1424044"/>
                </a:lnTo>
                <a:lnTo>
                  <a:pt x="1496227" y="1422134"/>
                </a:lnTo>
                <a:lnTo>
                  <a:pt x="1494324" y="1420543"/>
                </a:lnTo>
                <a:lnTo>
                  <a:pt x="1491787" y="1418952"/>
                </a:lnTo>
                <a:lnTo>
                  <a:pt x="1489250" y="1417679"/>
                </a:lnTo>
                <a:lnTo>
                  <a:pt x="1486396" y="1417043"/>
                </a:lnTo>
                <a:lnTo>
                  <a:pt x="1483225" y="1416725"/>
                </a:lnTo>
                <a:lnTo>
                  <a:pt x="1259019" y="1415770"/>
                </a:lnTo>
                <a:lnTo>
                  <a:pt x="1255848" y="1415770"/>
                </a:lnTo>
                <a:close/>
                <a:moveTo>
                  <a:pt x="1699820" y="1377902"/>
                </a:moveTo>
                <a:lnTo>
                  <a:pt x="1703942" y="1405269"/>
                </a:lnTo>
                <a:lnTo>
                  <a:pt x="1750876" y="1405587"/>
                </a:lnTo>
                <a:lnTo>
                  <a:pt x="1746437" y="1378220"/>
                </a:lnTo>
                <a:lnTo>
                  <a:pt x="1699820" y="1377902"/>
                </a:lnTo>
                <a:close/>
                <a:moveTo>
                  <a:pt x="1636078" y="1377902"/>
                </a:moveTo>
                <a:lnTo>
                  <a:pt x="1639249" y="1404951"/>
                </a:lnTo>
                <a:lnTo>
                  <a:pt x="1686183" y="1405269"/>
                </a:lnTo>
                <a:lnTo>
                  <a:pt x="1682378" y="1377902"/>
                </a:lnTo>
                <a:lnTo>
                  <a:pt x="1636078" y="1377902"/>
                </a:lnTo>
                <a:close/>
                <a:moveTo>
                  <a:pt x="1572019" y="1377584"/>
                </a:moveTo>
                <a:lnTo>
                  <a:pt x="1574239" y="1404633"/>
                </a:lnTo>
                <a:lnTo>
                  <a:pt x="1621490" y="1404951"/>
                </a:lnTo>
                <a:lnTo>
                  <a:pt x="1618636" y="1377584"/>
                </a:lnTo>
                <a:lnTo>
                  <a:pt x="1572019" y="1377584"/>
                </a:lnTo>
                <a:close/>
                <a:moveTo>
                  <a:pt x="1507960" y="1377266"/>
                </a:moveTo>
                <a:lnTo>
                  <a:pt x="1509546" y="1404314"/>
                </a:lnTo>
                <a:lnTo>
                  <a:pt x="1556797" y="1404633"/>
                </a:lnTo>
                <a:lnTo>
                  <a:pt x="1554577" y="1377266"/>
                </a:lnTo>
                <a:lnTo>
                  <a:pt x="1507960" y="1377266"/>
                </a:lnTo>
                <a:close/>
                <a:moveTo>
                  <a:pt x="1443902" y="1376948"/>
                </a:moveTo>
                <a:lnTo>
                  <a:pt x="1444853" y="1403996"/>
                </a:lnTo>
                <a:lnTo>
                  <a:pt x="1491787" y="1403996"/>
                </a:lnTo>
                <a:lnTo>
                  <a:pt x="1490519" y="1377266"/>
                </a:lnTo>
                <a:lnTo>
                  <a:pt x="1443902" y="1376948"/>
                </a:lnTo>
                <a:close/>
                <a:moveTo>
                  <a:pt x="1380160" y="1376629"/>
                </a:moveTo>
                <a:lnTo>
                  <a:pt x="1379843" y="1403678"/>
                </a:lnTo>
                <a:lnTo>
                  <a:pt x="1426777" y="1403996"/>
                </a:lnTo>
                <a:lnTo>
                  <a:pt x="1426460" y="1376948"/>
                </a:lnTo>
                <a:lnTo>
                  <a:pt x="1380160" y="1376629"/>
                </a:lnTo>
                <a:close/>
                <a:moveTo>
                  <a:pt x="1316101" y="1376311"/>
                </a:moveTo>
                <a:lnTo>
                  <a:pt x="1315150" y="1403360"/>
                </a:lnTo>
                <a:lnTo>
                  <a:pt x="1362401" y="1403360"/>
                </a:lnTo>
                <a:lnTo>
                  <a:pt x="1362718" y="1376629"/>
                </a:lnTo>
                <a:lnTo>
                  <a:pt x="1316101" y="1376311"/>
                </a:lnTo>
                <a:close/>
                <a:moveTo>
                  <a:pt x="1252043" y="1375993"/>
                </a:moveTo>
                <a:lnTo>
                  <a:pt x="1250140" y="1403041"/>
                </a:lnTo>
                <a:lnTo>
                  <a:pt x="1297391" y="1403041"/>
                </a:lnTo>
                <a:lnTo>
                  <a:pt x="1298660" y="1376311"/>
                </a:lnTo>
                <a:lnTo>
                  <a:pt x="1252043" y="1375993"/>
                </a:lnTo>
                <a:close/>
                <a:moveTo>
                  <a:pt x="1188301" y="1375675"/>
                </a:moveTo>
                <a:lnTo>
                  <a:pt x="1185764" y="1402723"/>
                </a:lnTo>
                <a:lnTo>
                  <a:pt x="1232698" y="1402723"/>
                </a:lnTo>
                <a:lnTo>
                  <a:pt x="1234601" y="1375993"/>
                </a:lnTo>
                <a:lnTo>
                  <a:pt x="1188301" y="1375675"/>
                </a:lnTo>
                <a:close/>
                <a:moveTo>
                  <a:pt x="1124242" y="1375356"/>
                </a:moveTo>
                <a:lnTo>
                  <a:pt x="1120754" y="1402405"/>
                </a:lnTo>
                <a:lnTo>
                  <a:pt x="1167688" y="1402405"/>
                </a:lnTo>
                <a:lnTo>
                  <a:pt x="1170859" y="1375675"/>
                </a:lnTo>
                <a:lnTo>
                  <a:pt x="1124242" y="1375356"/>
                </a:lnTo>
                <a:close/>
                <a:moveTo>
                  <a:pt x="1060183" y="1375038"/>
                </a:moveTo>
                <a:lnTo>
                  <a:pt x="1056061" y="1402087"/>
                </a:lnTo>
                <a:lnTo>
                  <a:pt x="1102995" y="1402087"/>
                </a:lnTo>
                <a:lnTo>
                  <a:pt x="1106800" y="1375356"/>
                </a:lnTo>
                <a:lnTo>
                  <a:pt x="1060183" y="1375038"/>
                </a:lnTo>
                <a:close/>
                <a:moveTo>
                  <a:pt x="996442" y="1374720"/>
                </a:moveTo>
                <a:lnTo>
                  <a:pt x="991051" y="1401769"/>
                </a:lnTo>
                <a:lnTo>
                  <a:pt x="1038302" y="1401769"/>
                </a:lnTo>
                <a:lnTo>
                  <a:pt x="1042742" y="1375038"/>
                </a:lnTo>
                <a:lnTo>
                  <a:pt x="996442" y="1374720"/>
                </a:lnTo>
                <a:close/>
                <a:moveTo>
                  <a:pt x="394079" y="1340803"/>
                </a:moveTo>
                <a:lnTo>
                  <a:pt x="364253" y="1348105"/>
                </a:lnTo>
                <a:lnTo>
                  <a:pt x="354734" y="1351280"/>
                </a:lnTo>
                <a:lnTo>
                  <a:pt x="367743" y="1359853"/>
                </a:lnTo>
                <a:lnTo>
                  <a:pt x="380752" y="1368743"/>
                </a:lnTo>
                <a:lnTo>
                  <a:pt x="393761" y="1376998"/>
                </a:lnTo>
                <a:lnTo>
                  <a:pt x="407088" y="1385571"/>
                </a:lnTo>
                <a:lnTo>
                  <a:pt x="420414" y="1393191"/>
                </a:lnTo>
                <a:lnTo>
                  <a:pt x="434375" y="1400493"/>
                </a:lnTo>
                <a:lnTo>
                  <a:pt x="448336" y="1408113"/>
                </a:lnTo>
                <a:lnTo>
                  <a:pt x="462297" y="1415098"/>
                </a:lnTo>
                <a:lnTo>
                  <a:pt x="453095" y="1406526"/>
                </a:lnTo>
                <a:lnTo>
                  <a:pt x="444528" y="1397636"/>
                </a:lnTo>
                <a:lnTo>
                  <a:pt x="435644" y="1389063"/>
                </a:lnTo>
                <a:lnTo>
                  <a:pt x="427077" y="1379538"/>
                </a:lnTo>
                <a:lnTo>
                  <a:pt x="418510" y="1370331"/>
                </a:lnTo>
                <a:lnTo>
                  <a:pt x="410261" y="1360488"/>
                </a:lnTo>
                <a:lnTo>
                  <a:pt x="402011" y="1350963"/>
                </a:lnTo>
                <a:lnTo>
                  <a:pt x="394079" y="1340803"/>
                </a:lnTo>
                <a:close/>
                <a:moveTo>
                  <a:pt x="1694111" y="1340353"/>
                </a:moveTo>
                <a:lnTo>
                  <a:pt x="1698234" y="1367401"/>
                </a:lnTo>
                <a:lnTo>
                  <a:pt x="1744534" y="1367719"/>
                </a:lnTo>
                <a:lnTo>
                  <a:pt x="1739777" y="1340671"/>
                </a:lnTo>
                <a:lnTo>
                  <a:pt x="1694111" y="1340353"/>
                </a:lnTo>
                <a:close/>
                <a:moveTo>
                  <a:pt x="1631321" y="1340034"/>
                </a:moveTo>
                <a:lnTo>
                  <a:pt x="1634809" y="1367083"/>
                </a:lnTo>
                <a:lnTo>
                  <a:pt x="1680792" y="1367401"/>
                </a:lnTo>
                <a:lnTo>
                  <a:pt x="1676987" y="1340353"/>
                </a:lnTo>
                <a:lnTo>
                  <a:pt x="1631321" y="1340034"/>
                </a:lnTo>
                <a:close/>
                <a:moveTo>
                  <a:pt x="1568531" y="1339716"/>
                </a:moveTo>
                <a:lnTo>
                  <a:pt x="1571068" y="1366765"/>
                </a:lnTo>
                <a:lnTo>
                  <a:pt x="1617051" y="1367083"/>
                </a:lnTo>
                <a:lnTo>
                  <a:pt x="1614196" y="1340034"/>
                </a:lnTo>
                <a:lnTo>
                  <a:pt x="1568531" y="1339716"/>
                </a:lnTo>
                <a:close/>
                <a:moveTo>
                  <a:pt x="1505741" y="1339716"/>
                </a:moveTo>
                <a:lnTo>
                  <a:pt x="1507326" y="1366765"/>
                </a:lnTo>
                <a:lnTo>
                  <a:pt x="1553626" y="1366765"/>
                </a:lnTo>
                <a:lnTo>
                  <a:pt x="1551406" y="1339716"/>
                </a:lnTo>
                <a:lnTo>
                  <a:pt x="1505741" y="1339716"/>
                </a:lnTo>
                <a:close/>
                <a:moveTo>
                  <a:pt x="1442950" y="1339398"/>
                </a:moveTo>
                <a:lnTo>
                  <a:pt x="1443585" y="1366128"/>
                </a:lnTo>
                <a:lnTo>
                  <a:pt x="1489884" y="1366128"/>
                </a:lnTo>
                <a:lnTo>
                  <a:pt x="1488616" y="1339398"/>
                </a:lnTo>
                <a:lnTo>
                  <a:pt x="1442950" y="1339398"/>
                </a:lnTo>
                <a:close/>
                <a:moveTo>
                  <a:pt x="1380160" y="1339080"/>
                </a:moveTo>
                <a:lnTo>
                  <a:pt x="1380160" y="1365810"/>
                </a:lnTo>
                <a:lnTo>
                  <a:pt x="1426143" y="1365810"/>
                </a:lnTo>
                <a:lnTo>
                  <a:pt x="1425826" y="1339398"/>
                </a:lnTo>
                <a:lnTo>
                  <a:pt x="1380160" y="1339080"/>
                </a:lnTo>
                <a:close/>
                <a:moveTo>
                  <a:pt x="1317370" y="1338761"/>
                </a:moveTo>
                <a:lnTo>
                  <a:pt x="1316418" y="1365492"/>
                </a:lnTo>
                <a:lnTo>
                  <a:pt x="1362718" y="1365492"/>
                </a:lnTo>
                <a:lnTo>
                  <a:pt x="1363035" y="1339080"/>
                </a:lnTo>
                <a:lnTo>
                  <a:pt x="1317370" y="1338761"/>
                </a:lnTo>
                <a:close/>
                <a:moveTo>
                  <a:pt x="1254897" y="1338443"/>
                </a:moveTo>
                <a:lnTo>
                  <a:pt x="1252677" y="1365174"/>
                </a:lnTo>
                <a:lnTo>
                  <a:pt x="1298977" y="1365492"/>
                </a:lnTo>
                <a:lnTo>
                  <a:pt x="1300245" y="1338761"/>
                </a:lnTo>
                <a:lnTo>
                  <a:pt x="1254897" y="1338443"/>
                </a:lnTo>
                <a:close/>
                <a:moveTo>
                  <a:pt x="1192106" y="1338443"/>
                </a:moveTo>
                <a:lnTo>
                  <a:pt x="1189252" y="1364855"/>
                </a:lnTo>
                <a:lnTo>
                  <a:pt x="1235235" y="1365174"/>
                </a:lnTo>
                <a:lnTo>
                  <a:pt x="1237772" y="1338443"/>
                </a:lnTo>
                <a:lnTo>
                  <a:pt x="1192106" y="1338443"/>
                </a:lnTo>
                <a:close/>
                <a:moveTo>
                  <a:pt x="1128999" y="1338125"/>
                </a:moveTo>
                <a:lnTo>
                  <a:pt x="1125511" y="1364537"/>
                </a:lnTo>
                <a:lnTo>
                  <a:pt x="1172128" y="1364855"/>
                </a:lnTo>
                <a:lnTo>
                  <a:pt x="1174665" y="1338125"/>
                </a:lnTo>
                <a:lnTo>
                  <a:pt x="1128999" y="1338125"/>
                </a:lnTo>
                <a:close/>
                <a:moveTo>
                  <a:pt x="1066526" y="1337807"/>
                </a:moveTo>
                <a:lnTo>
                  <a:pt x="1061769" y="1364219"/>
                </a:lnTo>
                <a:lnTo>
                  <a:pt x="1108386" y="1364537"/>
                </a:lnTo>
                <a:lnTo>
                  <a:pt x="1111874" y="1338125"/>
                </a:lnTo>
                <a:lnTo>
                  <a:pt x="1066526" y="1337807"/>
                </a:lnTo>
                <a:close/>
                <a:moveTo>
                  <a:pt x="1003419" y="1337489"/>
                </a:moveTo>
                <a:lnTo>
                  <a:pt x="998345" y="1363901"/>
                </a:lnTo>
                <a:lnTo>
                  <a:pt x="1044644" y="1364219"/>
                </a:lnTo>
                <a:lnTo>
                  <a:pt x="1049401" y="1337807"/>
                </a:lnTo>
                <a:lnTo>
                  <a:pt x="1003419" y="1337489"/>
                </a:lnTo>
                <a:close/>
                <a:moveTo>
                  <a:pt x="538764" y="1314450"/>
                </a:moveTo>
                <a:lnTo>
                  <a:pt x="518458" y="1317308"/>
                </a:lnTo>
                <a:lnTo>
                  <a:pt x="498468" y="1320165"/>
                </a:lnTo>
                <a:lnTo>
                  <a:pt x="478479" y="1323340"/>
                </a:lnTo>
                <a:lnTo>
                  <a:pt x="458807" y="1326833"/>
                </a:lnTo>
                <a:lnTo>
                  <a:pt x="467691" y="1336675"/>
                </a:lnTo>
                <a:lnTo>
                  <a:pt x="476258" y="1346200"/>
                </a:lnTo>
                <a:lnTo>
                  <a:pt x="485142" y="1355408"/>
                </a:lnTo>
                <a:lnTo>
                  <a:pt x="494343" y="1364298"/>
                </a:lnTo>
                <a:lnTo>
                  <a:pt x="503228" y="1372871"/>
                </a:lnTo>
                <a:lnTo>
                  <a:pt x="512746" y="1381126"/>
                </a:lnTo>
                <a:lnTo>
                  <a:pt x="521948" y="1389381"/>
                </a:lnTo>
                <a:lnTo>
                  <a:pt x="531784" y="1397001"/>
                </a:lnTo>
                <a:lnTo>
                  <a:pt x="540986" y="1404621"/>
                </a:lnTo>
                <a:lnTo>
                  <a:pt x="551139" y="1411606"/>
                </a:lnTo>
                <a:lnTo>
                  <a:pt x="560658" y="1418273"/>
                </a:lnTo>
                <a:lnTo>
                  <a:pt x="570811" y="1424941"/>
                </a:lnTo>
                <a:lnTo>
                  <a:pt x="580965" y="1430973"/>
                </a:lnTo>
                <a:lnTo>
                  <a:pt x="591118" y="1437323"/>
                </a:lnTo>
                <a:lnTo>
                  <a:pt x="601589" y="1442721"/>
                </a:lnTo>
                <a:lnTo>
                  <a:pt x="611742" y="1447801"/>
                </a:lnTo>
                <a:lnTo>
                  <a:pt x="601589" y="1433831"/>
                </a:lnTo>
                <a:lnTo>
                  <a:pt x="591753" y="1419226"/>
                </a:lnTo>
                <a:lnTo>
                  <a:pt x="582234" y="1403351"/>
                </a:lnTo>
                <a:lnTo>
                  <a:pt x="573032" y="1387158"/>
                </a:lnTo>
                <a:lnTo>
                  <a:pt x="564148" y="1370013"/>
                </a:lnTo>
                <a:lnTo>
                  <a:pt x="555264" y="1352233"/>
                </a:lnTo>
                <a:lnTo>
                  <a:pt x="547014" y="1333500"/>
                </a:lnTo>
                <a:lnTo>
                  <a:pt x="538764" y="1314450"/>
                </a:lnTo>
                <a:close/>
                <a:moveTo>
                  <a:pt x="1688403" y="1302485"/>
                </a:moveTo>
                <a:lnTo>
                  <a:pt x="1692526" y="1329215"/>
                </a:lnTo>
                <a:lnTo>
                  <a:pt x="1737557" y="1329533"/>
                </a:lnTo>
                <a:lnTo>
                  <a:pt x="1733117" y="1302803"/>
                </a:lnTo>
                <a:lnTo>
                  <a:pt x="1688403" y="1302485"/>
                </a:lnTo>
                <a:close/>
                <a:moveTo>
                  <a:pt x="1626881" y="1302166"/>
                </a:moveTo>
                <a:lnTo>
                  <a:pt x="1630053" y="1329215"/>
                </a:lnTo>
                <a:lnTo>
                  <a:pt x="1675401" y="1329215"/>
                </a:lnTo>
                <a:lnTo>
                  <a:pt x="1671596" y="1302485"/>
                </a:lnTo>
                <a:lnTo>
                  <a:pt x="1626881" y="1302166"/>
                </a:lnTo>
                <a:close/>
                <a:moveTo>
                  <a:pt x="1565042" y="1302166"/>
                </a:moveTo>
                <a:lnTo>
                  <a:pt x="1567579" y="1328897"/>
                </a:lnTo>
                <a:lnTo>
                  <a:pt x="1612928" y="1329215"/>
                </a:lnTo>
                <a:lnTo>
                  <a:pt x="1610074" y="1302166"/>
                </a:lnTo>
                <a:lnTo>
                  <a:pt x="1565042" y="1302166"/>
                </a:lnTo>
                <a:close/>
                <a:moveTo>
                  <a:pt x="1503521" y="1301848"/>
                </a:moveTo>
                <a:lnTo>
                  <a:pt x="1505106" y="1328578"/>
                </a:lnTo>
                <a:lnTo>
                  <a:pt x="1550772" y="1328897"/>
                </a:lnTo>
                <a:lnTo>
                  <a:pt x="1548552" y="1302166"/>
                </a:lnTo>
                <a:lnTo>
                  <a:pt x="1503521" y="1301848"/>
                </a:lnTo>
                <a:close/>
                <a:moveTo>
                  <a:pt x="1441999" y="1301848"/>
                </a:moveTo>
                <a:lnTo>
                  <a:pt x="1442633" y="1328260"/>
                </a:lnTo>
                <a:lnTo>
                  <a:pt x="1487982" y="1328578"/>
                </a:lnTo>
                <a:lnTo>
                  <a:pt x="1486713" y="1301848"/>
                </a:lnTo>
                <a:lnTo>
                  <a:pt x="1441999" y="1301848"/>
                </a:lnTo>
                <a:close/>
                <a:moveTo>
                  <a:pt x="1380477" y="1301530"/>
                </a:moveTo>
                <a:lnTo>
                  <a:pt x="1380477" y="1328260"/>
                </a:lnTo>
                <a:lnTo>
                  <a:pt x="1425509" y="1328260"/>
                </a:lnTo>
                <a:lnTo>
                  <a:pt x="1425191" y="1301530"/>
                </a:lnTo>
                <a:lnTo>
                  <a:pt x="1380477" y="1301530"/>
                </a:lnTo>
                <a:close/>
                <a:moveTo>
                  <a:pt x="1318638" y="1301212"/>
                </a:moveTo>
                <a:lnTo>
                  <a:pt x="1317687" y="1327942"/>
                </a:lnTo>
                <a:lnTo>
                  <a:pt x="1363353" y="1328260"/>
                </a:lnTo>
                <a:lnTo>
                  <a:pt x="1363670" y="1301530"/>
                </a:lnTo>
                <a:lnTo>
                  <a:pt x="1318638" y="1301212"/>
                </a:lnTo>
                <a:close/>
                <a:moveTo>
                  <a:pt x="1257434" y="1301212"/>
                </a:moveTo>
                <a:lnTo>
                  <a:pt x="1255531" y="1327624"/>
                </a:lnTo>
                <a:lnTo>
                  <a:pt x="1300879" y="1327942"/>
                </a:lnTo>
                <a:lnTo>
                  <a:pt x="1301831" y="1301212"/>
                </a:lnTo>
                <a:lnTo>
                  <a:pt x="1257434" y="1301212"/>
                </a:lnTo>
                <a:close/>
                <a:moveTo>
                  <a:pt x="1195595" y="1300894"/>
                </a:moveTo>
                <a:lnTo>
                  <a:pt x="1193058" y="1327306"/>
                </a:lnTo>
                <a:lnTo>
                  <a:pt x="1238406" y="1327624"/>
                </a:lnTo>
                <a:lnTo>
                  <a:pt x="1240626" y="1300894"/>
                </a:lnTo>
                <a:lnTo>
                  <a:pt x="1195595" y="1300894"/>
                </a:lnTo>
                <a:close/>
                <a:moveTo>
                  <a:pt x="1134073" y="1300575"/>
                </a:moveTo>
                <a:lnTo>
                  <a:pt x="1130268" y="1327306"/>
                </a:lnTo>
                <a:lnTo>
                  <a:pt x="1175933" y="1327306"/>
                </a:lnTo>
                <a:lnTo>
                  <a:pt x="1178787" y="1300894"/>
                </a:lnTo>
                <a:lnTo>
                  <a:pt x="1134073" y="1300575"/>
                </a:lnTo>
                <a:close/>
                <a:moveTo>
                  <a:pt x="1072551" y="1300575"/>
                </a:moveTo>
                <a:lnTo>
                  <a:pt x="1068112" y="1326987"/>
                </a:lnTo>
                <a:lnTo>
                  <a:pt x="1113460" y="1326987"/>
                </a:lnTo>
                <a:lnTo>
                  <a:pt x="1117266" y="1300575"/>
                </a:lnTo>
                <a:lnTo>
                  <a:pt x="1072551" y="1300575"/>
                </a:lnTo>
                <a:close/>
                <a:moveTo>
                  <a:pt x="1010712" y="1300257"/>
                </a:moveTo>
                <a:lnTo>
                  <a:pt x="1005638" y="1326669"/>
                </a:lnTo>
                <a:lnTo>
                  <a:pt x="1050987" y="1326987"/>
                </a:lnTo>
                <a:lnTo>
                  <a:pt x="1055744" y="1300575"/>
                </a:lnTo>
                <a:lnTo>
                  <a:pt x="1010712" y="1300257"/>
                </a:lnTo>
                <a:close/>
                <a:moveTo>
                  <a:pt x="742467" y="1299528"/>
                </a:moveTo>
                <a:lnTo>
                  <a:pt x="705978" y="1300480"/>
                </a:lnTo>
                <a:lnTo>
                  <a:pt x="670124" y="1302068"/>
                </a:lnTo>
                <a:lnTo>
                  <a:pt x="634587" y="1304290"/>
                </a:lnTo>
                <a:lnTo>
                  <a:pt x="600002" y="1307148"/>
                </a:lnTo>
                <a:lnTo>
                  <a:pt x="608886" y="1327150"/>
                </a:lnTo>
                <a:lnTo>
                  <a:pt x="618088" y="1346518"/>
                </a:lnTo>
                <a:lnTo>
                  <a:pt x="627607" y="1364298"/>
                </a:lnTo>
                <a:lnTo>
                  <a:pt x="632683" y="1373188"/>
                </a:lnTo>
                <a:lnTo>
                  <a:pt x="637760" y="1381126"/>
                </a:lnTo>
                <a:lnTo>
                  <a:pt x="642519" y="1389381"/>
                </a:lnTo>
                <a:lnTo>
                  <a:pt x="647596" y="1397001"/>
                </a:lnTo>
                <a:lnTo>
                  <a:pt x="652673" y="1404621"/>
                </a:lnTo>
                <a:lnTo>
                  <a:pt x="657750" y="1411288"/>
                </a:lnTo>
                <a:lnTo>
                  <a:pt x="662826" y="1417956"/>
                </a:lnTo>
                <a:lnTo>
                  <a:pt x="668220" y="1424623"/>
                </a:lnTo>
                <a:lnTo>
                  <a:pt x="673614" y="1430656"/>
                </a:lnTo>
                <a:lnTo>
                  <a:pt x="678691" y="1436688"/>
                </a:lnTo>
                <a:lnTo>
                  <a:pt x="686941" y="1444626"/>
                </a:lnTo>
                <a:lnTo>
                  <a:pt x="694873" y="1451928"/>
                </a:lnTo>
                <a:lnTo>
                  <a:pt x="703123" y="1458913"/>
                </a:lnTo>
                <a:lnTo>
                  <a:pt x="711055" y="1464628"/>
                </a:lnTo>
                <a:lnTo>
                  <a:pt x="718987" y="1469708"/>
                </a:lnTo>
                <a:lnTo>
                  <a:pt x="726920" y="1474153"/>
                </a:lnTo>
                <a:lnTo>
                  <a:pt x="734535" y="1477963"/>
                </a:lnTo>
                <a:lnTo>
                  <a:pt x="742467" y="1480821"/>
                </a:lnTo>
                <a:lnTo>
                  <a:pt x="742467" y="1299528"/>
                </a:lnTo>
                <a:close/>
                <a:moveTo>
                  <a:pt x="1682695" y="1264935"/>
                </a:moveTo>
                <a:lnTo>
                  <a:pt x="1686818" y="1291665"/>
                </a:lnTo>
                <a:lnTo>
                  <a:pt x="1731215" y="1291665"/>
                </a:lnTo>
                <a:lnTo>
                  <a:pt x="1726775" y="1264935"/>
                </a:lnTo>
                <a:lnTo>
                  <a:pt x="1682695" y="1264935"/>
                </a:lnTo>
                <a:close/>
                <a:moveTo>
                  <a:pt x="1622442" y="1264617"/>
                </a:moveTo>
                <a:lnTo>
                  <a:pt x="1625613" y="1291347"/>
                </a:lnTo>
                <a:lnTo>
                  <a:pt x="1670327" y="1291665"/>
                </a:lnTo>
                <a:lnTo>
                  <a:pt x="1666205" y="1264617"/>
                </a:lnTo>
                <a:lnTo>
                  <a:pt x="1622442" y="1264617"/>
                </a:lnTo>
                <a:close/>
                <a:moveTo>
                  <a:pt x="1561871" y="1264617"/>
                </a:moveTo>
                <a:lnTo>
                  <a:pt x="1564091" y="1291347"/>
                </a:lnTo>
                <a:lnTo>
                  <a:pt x="1608805" y="1291347"/>
                </a:lnTo>
                <a:lnTo>
                  <a:pt x="1605951" y="1264617"/>
                </a:lnTo>
                <a:lnTo>
                  <a:pt x="1561871" y="1264617"/>
                </a:lnTo>
                <a:close/>
                <a:moveTo>
                  <a:pt x="1501618" y="1264298"/>
                </a:moveTo>
                <a:lnTo>
                  <a:pt x="1502886" y="1291029"/>
                </a:lnTo>
                <a:lnTo>
                  <a:pt x="1547284" y="1291029"/>
                </a:lnTo>
                <a:lnTo>
                  <a:pt x="1545381" y="1264298"/>
                </a:lnTo>
                <a:lnTo>
                  <a:pt x="1501618" y="1264298"/>
                </a:lnTo>
                <a:close/>
                <a:moveTo>
                  <a:pt x="1441048" y="1263980"/>
                </a:moveTo>
                <a:lnTo>
                  <a:pt x="1441682" y="1290711"/>
                </a:lnTo>
                <a:lnTo>
                  <a:pt x="1486396" y="1291029"/>
                </a:lnTo>
                <a:lnTo>
                  <a:pt x="1485128" y="1264298"/>
                </a:lnTo>
                <a:lnTo>
                  <a:pt x="1441048" y="1263980"/>
                </a:lnTo>
                <a:close/>
                <a:moveTo>
                  <a:pt x="1380794" y="1263980"/>
                </a:moveTo>
                <a:lnTo>
                  <a:pt x="1380477" y="1290711"/>
                </a:lnTo>
                <a:lnTo>
                  <a:pt x="1424874" y="1290711"/>
                </a:lnTo>
                <a:lnTo>
                  <a:pt x="1424557" y="1263980"/>
                </a:lnTo>
                <a:lnTo>
                  <a:pt x="1380794" y="1263980"/>
                </a:lnTo>
                <a:close/>
                <a:moveTo>
                  <a:pt x="1320224" y="1263662"/>
                </a:moveTo>
                <a:lnTo>
                  <a:pt x="1319273" y="1290392"/>
                </a:lnTo>
                <a:lnTo>
                  <a:pt x="1363670" y="1290711"/>
                </a:lnTo>
                <a:lnTo>
                  <a:pt x="1363987" y="1263980"/>
                </a:lnTo>
                <a:lnTo>
                  <a:pt x="1320224" y="1263662"/>
                </a:lnTo>
                <a:close/>
                <a:moveTo>
                  <a:pt x="1259654" y="1263662"/>
                </a:moveTo>
                <a:lnTo>
                  <a:pt x="1258068" y="1290392"/>
                </a:lnTo>
                <a:lnTo>
                  <a:pt x="1302465" y="1290392"/>
                </a:lnTo>
                <a:lnTo>
                  <a:pt x="1303416" y="1263662"/>
                </a:lnTo>
                <a:lnTo>
                  <a:pt x="1259654" y="1263662"/>
                </a:lnTo>
                <a:close/>
                <a:moveTo>
                  <a:pt x="1199083" y="1263344"/>
                </a:moveTo>
                <a:lnTo>
                  <a:pt x="1196546" y="1290074"/>
                </a:lnTo>
                <a:lnTo>
                  <a:pt x="1241260" y="1290392"/>
                </a:lnTo>
                <a:lnTo>
                  <a:pt x="1243163" y="1263662"/>
                </a:lnTo>
                <a:lnTo>
                  <a:pt x="1199083" y="1263344"/>
                </a:lnTo>
                <a:close/>
                <a:moveTo>
                  <a:pt x="1138830" y="1263344"/>
                </a:moveTo>
                <a:lnTo>
                  <a:pt x="1135659" y="1289756"/>
                </a:lnTo>
                <a:lnTo>
                  <a:pt x="1180056" y="1290074"/>
                </a:lnTo>
                <a:lnTo>
                  <a:pt x="1182593" y="1263344"/>
                </a:lnTo>
                <a:lnTo>
                  <a:pt x="1138830" y="1263344"/>
                </a:lnTo>
                <a:close/>
                <a:moveTo>
                  <a:pt x="1078259" y="1263026"/>
                </a:moveTo>
                <a:lnTo>
                  <a:pt x="1074137" y="1289756"/>
                </a:lnTo>
                <a:lnTo>
                  <a:pt x="1118851" y="1289756"/>
                </a:lnTo>
                <a:lnTo>
                  <a:pt x="1122339" y="1263344"/>
                </a:lnTo>
                <a:lnTo>
                  <a:pt x="1078259" y="1263026"/>
                </a:lnTo>
                <a:close/>
                <a:moveTo>
                  <a:pt x="1018006" y="1263026"/>
                </a:moveTo>
                <a:lnTo>
                  <a:pt x="1012615" y="1289438"/>
                </a:lnTo>
                <a:lnTo>
                  <a:pt x="1057329" y="1289756"/>
                </a:lnTo>
                <a:lnTo>
                  <a:pt x="1061769" y="1263026"/>
                </a:lnTo>
                <a:lnTo>
                  <a:pt x="1018006" y="1263026"/>
                </a:lnTo>
                <a:close/>
                <a:moveTo>
                  <a:pt x="1676987" y="1227067"/>
                </a:moveTo>
                <a:lnTo>
                  <a:pt x="1681109" y="1253797"/>
                </a:lnTo>
                <a:lnTo>
                  <a:pt x="1724872" y="1254115"/>
                </a:lnTo>
                <a:lnTo>
                  <a:pt x="1719798" y="1227067"/>
                </a:lnTo>
                <a:lnTo>
                  <a:pt x="1676987" y="1227067"/>
                </a:lnTo>
                <a:close/>
                <a:moveTo>
                  <a:pt x="1618002" y="1227067"/>
                </a:moveTo>
                <a:lnTo>
                  <a:pt x="1621173" y="1253797"/>
                </a:lnTo>
                <a:lnTo>
                  <a:pt x="1664619" y="1253797"/>
                </a:lnTo>
                <a:lnTo>
                  <a:pt x="1660813" y="1227067"/>
                </a:lnTo>
                <a:lnTo>
                  <a:pt x="1618002" y="1227067"/>
                </a:lnTo>
                <a:close/>
                <a:moveTo>
                  <a:pt x="1558383" y="1226431"/>
                </a:moveTo>
                <a:lnTo>
                  <a:pt x="1560920" y="1253479"/>
                </a:lnTo>
                <a:lnTo>
                  <a:pt x="1604683" y="1253797"/>
                </a:lnTo>
                <a:lnTo>
                  <a:pt x="1601512" y="1226431"/>
                </a:lnTo>
                <a:lnTo>
                  <a:pt x="1558383" y="1226431"/>
                </a:lnTo>
                <a:close/>
                <a:moveTo>
                  <a:pt x="1499398" y="1226431"/>
                </a:moveTo>
                <a:lnTo>
                  <a:pt x="1500984" y="1253479"/>
                </a:lnTo>
                <a:lnTo>
                  <a:pt x="1544430" y="1253479"/>
                </a:lnTo>
                <a:lnTo>
                  <a:pt x="1542210" y="1226431"/>
                </a:lnTo>
                <a:lnTo>
                  <a:pt x="1499398" y="1226431"/>
                </a:lnTo>
                <a:close/>
                <a:moveTo>
                  <a:pt x="1439779" y="1226112"/>
                </a:moveTo>
                <a:lnTo>
                  <a:pt x="1440730" y="1253161"/>
                </a:lnTo>
                <a:lnTo>
                  <a:pt x="1484493" y="1253479"/>
                </a:lnTo>
                <a:lnTo>
                  <a:pt x="1483225" y="1226431"/>
                </a:lnTo>
                <a:lnTo>
                  <a:pt x="1439779" y="1226112"/>
                </a:lnTo>
                <a:close/>
                <a:moveTo>
                  <a:pt x="1380794" y="1226112"/>
                </a:moveTo>
                <a:lnTo>
                  <a:pt x="1380794" y="1253161"/>
                </a:lnTo>
                <a:lnTo>
                  <a:pt x="1424240" y="1253161"/>
                </a:lnTo>
                <a:lnTo>
                  <a:pt x="1423606" y="1226112"/>
                </a:lnTo>
                <a:lnTo>
                  <a:pt x="1380794" y="1226112"/>
                </a:lnTo>
                <a:close/>
                <a:moveTo>
                  <a:pt x="1321492" y="1226112"/>
                </a:moveTo>
                <a:lnTo>
                  <a:pt x="1320541" y="1252843"/>
                </a:lnTo>
                <a:lnTo>
                  <a:pt x="1364304" y="1253161"/>
                </a:lnTo>
                <a:lnTo>
                  <a:pt x="1364621" y="1226112"/>
                </a:lnTo>
                <a:lnTo>
                  <a:pt x="1321492" y="1226112"/>
                </a:lnTo>
                <a:close/>
                <a:moveTo>
                  <a:pt x="1262190" y="1225794"/>
                </a:moveTo>
                <a:lnTo>
                  <a:pt x="1260605" y="1252843"/>
                </a:lnTo>
                <a:lnTo>
                  <a:pt x="1304051" y="1252843"/>
                </a:lnTo>
                <a:lnTo>
                  <a:pt x="1305319" y="1225794"/>
                </a:lnTo>
                <a:lnTo>
                  <a:pt x="1262190" y="1225794"/>
                </a:lnTo>
                <a:close/>
                <a:moveTo>
                  <a:pt x="1203206" y="1225794"/>
                </a:moveTo>
                <a:lnTo>
                  <a:pt x="1200352" y="1252524"/>
                </a:lnTo>
                <a:lnTo>
                  <a:pt x="1244115" y="1252843"/>
                </a:lnTo>
                <a:lnTo>
                  <a:pt x="1246017" y="1225794"/>
                </a:lnTo>
                <a:lnTo>
                  <a:pt x="1203206" y="1225794"/>
                </a:lnTo>
                <a:close/>
                <a:moveTo>
                  <a:pt x="1143904" y="1225476"/>
                </a:moveTo>
                <a:lnTo>
                  <a:pt x="1140415" y="1252524"/>
                </a:lnTo>
                <a:lnTo>
                  <a:pt x="1183861" y="1252524"/>
                </a:lnTo>
                <a:lnTo>
                  <a:pt x="1187032" y="1225794"/>
                </a:lnTo>
                <a:lnTo>
                  <a:pt x="1143904" y="1225476"/>
                </a:lnTo>
                <a:close/>
                <a:moveTo>
                  <a:pt x="1084602" y="1225476"/>
                </a:moveTo>
                <a:lnTo>
                  <a:pt x="1080162" y="1252206"/>
                </a:lnTo>
                <a:lnTo>
                  <a:pt x="1123925" y="1252524"/>
                </a:lnTo>
                <a:lnTo>
                  <a:pt x="1127731" y="1225476"/>
                </a:lnTo>
                <a:lnTo>
                  <a:pt x="1084602" y="1225476"/>
                </a:lnTo>
                <a:close/>
                <a:moveTo>
                  <a:pt x="1025300" y="1225476"/>
                </a:moveTo>
                <a:lnTo>
                  <a:pt x="1020226" y="1252206"/>
                </a:lnTo>
                <a:lnTo>
                  <a:pt x="1063672" y="1252206"/>
                </a:lnTo>
                <a:lnTo>
                  <a:pt x="1068429" y="1225476"/>
                </a:lnTo>
                <a:lnTo>
                  <a:pt x="1025300" y="1225476"/>
                </a:lnTo>
                <a:close/>
                <a:moveTo>
                  <a:pt x="1671279" y="1188881"/>
                </a:moveTo>
                <a:lnTo>
                  <a:pt x="1675401" y="1216248"/>
                </a:lnTo>
                <a:lnTo>
                  <a:pt x="1718213" y="1216248"/>
                </a:lnTo>
                <a:lnTo>
                  <a:pt x="1713456" y="1188881"/>
                </a:lnTo>
                <a:lnTo>
                  <a:pt x="1671279" y="1188881"/>
                </a:lnTo>
                <a:close/>
                <a:moveTo>
                  <a:pt x="1613245" y="1188881"/>
                </a:moveTo>
                <a:lnTo>
                  <a:pt x="1616416" y="1215929"/>
                </a:lnTo>
                <a:lnTo>
                  <a:pt x="1659228" y="1216248"/>
                </a:lnTo>
                <a:lnTo>
                  <a:pt x="1655422" y="1188881"/>
                </a:lnTo>
                <a:lnTo>
                  <a:pt x="1613245" y="1188881"/>
                </a:lnTo>
                <a:close/>
                <a:moveTo>
                  <a:pt x="1555212" y="1188881"/>
                </a:moveTo>
                <a:lnTo>
                  <a:pt x="1557432" y="1215929"/>
                </a:lnTo>
                <a:lnTo>
                  <a:pt x="1600560" y="1215929"/>
                </a:lnTo>
                <a:lnTo>
                  <a:pt x="1597389" y="1188881"/>
                </a:lnTo>
                <a:lnTo>
                  <a:pt x="1555212" y="1188881"/>
                </a:lnTo>
                <a:close/>
                <a:moveTo>
                  <a:pt x="1497178" y="1188881"/>
                </a:moveTo>
                <a:lnTo>
                  <a:pt x="1498764" y="1215929"/>
                </a:lnTo>
                <a:lnTo>
                  <a:pt x="1541575" y="1215929"/>
                </a:lnTo>
                <a:lnTo>
                  <a:pt x="1539356" y="1188881"/>
                </a:lnTo>
                <a:lnTo>
                  <a:pt x="1497178" y="1188881"/>
                </a:lnTo>
                <a:close/>
                <a:moveTo>
                  <a:pt x="1438828" y="1188563"/>
                </a:moveTo>
                <a:lnTo>
                  <a:pt x="1439779" y="1215611"/>
                </a:lnTo>
                <a:lnTo>
                  <a:pt x="1482591" y="1215929"/>
                </a:lnTo>
                <a:lnTo>
                  <a:pt x="1481322" y="1188563"/>
                </a:lnTo>
                <a:lnTo>
                  <a:pt x="1438828" y="1188563"/>
                </a:lnTo>
                <a:close/>
                <a:moveTo>
                  <a:pt x="1381111" y="1188563"/>
                </a:moveTo>
                <a:lnTo>
                  <a:pt x="1380794" y="1215611"/>
                </a:lnTo>
                <a:lnTo>
                  <a:pt x="1423606" y="1215611"/>
                </a:lnTo>
                <a:lnTo>
                  <a:pt x="1422972" y="1188563"/>
                </a:lnTo>
                <a:lnTo>
                  <a:pt x="1381111" y="1188563"/>
                </a:lnTo>
                <a:close/>
                <a:moveTo>
                  <a:pt x="1322761" y="1188563"/>
                </a:moveTo>
                <a:lnTo>
                  <a:pt x="1321810" y="1215611"/>
                </a:lnTo>
                <a:lnTo>
                  <a:pt x="1364621" y="1215611"/>
                </a:lnTo>
                <a:lnTo>
                  <a:pt x="1365255" y="1188563"/>
                </a:lnTo>
                <a:lnTo>
                  <a:pt x="1322761" y="1188563"/>
                </a:lnTo>
                <a:close/>
                <a:moveTo>
                  <a:pt x="1264727" y="1188563"/>
                </a:moveTo>
                <a:lnTo>
                  <a:pt x="1263142" y="1215293"/>
                </a:lnTo>
                <a:lnTo>
                  <a:pt x="1305636" y="1215293"/>
                </a:lnTo>
                <a:lnTo>
                  <a:pt x="1307222" y="1188563"/>
                </a:lnTo>
                <a:lnTo>
                  <a:pt x="1264727" y="1188563"/>
                </a:lnTo>
                <a:close/>
                <a:moveTo>
                  <a:pt x="1206694" y="1188244"/>
                </a:moveTo>
                <a:lnTo>
                  <a:pt x="1204157" y="1215293"/>
                </a:lnTo>
                <a:lnTo>
                  <a:pt x="1246969" y="1215293"/>
                </a:lnTo>
                <a:lnTo>
                  <a:pt x="1248871" y="1188563"/>
                </a:lnTo>
                <a:lnTo>
                  <a:pt x="1206694" y="1188244"/>
                </a:lnTo>
                <a:close/>
                <a:moveTo>
                  <a:pt x="1148661" y="1188244"/>
                </a:moveTo>
                <a:lnTo>
                  <a:pt x="1145172" y="1215293"/>
                </a:lnTo>
                <a:lnTo>
                  <a:pt x="1188301" y="1215293"/>
                </a:lnTo>
                <a:lnTo>
                  <a:pt x="1190838" y="1188244"/>
                </a:lnTo>
                <a:lnTo>
                  <a:pt x="1148661" y="1188244"/>
                </a:lnTo>
                <a:close/>
                <a:moveTo>
                  <a:pt x="1090627" y="1188244"/>
                </a:moveTo>
                <a:lnTo>
                  <a:pt x="1086505" y="1214975"/>
                </a:lnTo>
                <a:lnTo>
                  <a:pt x="1128999" y="1214975"/>
                </a:lnTo>
                <a:lnTo>
                  <a:pt x="1132805" y="1188244"/>
                </a:lnTo>
                <a:lnTo>
                  <a:pt x="1090627" y="1188244"/>
                </a:lnTo>
                <a:close/>
                <a:moveTo>
                  <a:pt x="1032594" y="1187926"/>
                </a:moveTo>
                <a:lnTo>
                  <a:pt x="1027203" y="1214975"/>
                </a:lnTo>
                <a:lnTo>
                  <a:pt x="1070331" y="1214975"/>
                </a:lnTo>
                <a:lnTo>
                  <a:pt x="1074771" y="1188244"/>
                </a:lnTo>
                <a:lnTo>
                  <a:pt x="1032594" y="1187926"/>
                </a:lnTo>
                <a:close/>
                <a:moveTo>
                  <a:pt x="1740728" y="1132875"/>
                </a:moveTo>
                <a:lnTo>
                  <a:pt x="1737874" y="1133193"/>
                </a:lnTo>
                <a:lnTo>
                  <a:pt x="1735337" y="1133829"/>
                </a:lnTo>
                <a:lnTo>
                  <a:pt x="1733117" y="1134784"/>
                </a:lnTo>
                <a:lnTo>
                  <a:pt x="1731532" y="1136057"/>
                </a:lnTo>
                <a:lnTo>
                  <a:pt x="1730263" y="1137648"/>
                </a:lnTo>
                <a:lnTo>
                  <a:pt x="1729312" y="1139875"/>
                </a:lnTo>
                <a:lnTo>
                  <a:pt x="1728995" y="1142103"/>
                </a:lnTo>
                <a:lnTo>
                  <a:pt x="1728995" y="1144330"/>
                </a:lnTo>
                <a:lnTo>
                  <a:pt x="1730263" y="1151649"/>
                </a:lnTo>
                <a:lnTo>
                  <a:pt x="1731215" y="1153877"/>
                </a:lnTo>
                <a:lnTo>
                  <a:pt x="1732166" y="1156104"/>
                </a:lnTo>
                <a:lnTo>
                  <a:pt x="1734069" y="1158332"/>
                </a:lnTo>
                <a:lnTo>
                  <a:pt x="1735971" y="1159923"/>
                </a:lnTo>
                <a:lnTo>
                  <a:pt x="1738508" y="1161514"/>
                </a:lnTo>
                <a:lnTo>
                  <a:pt x="1741045" y="1162469"/>
                </a:lnTo>
                <a:lnTo>
                  <a:pt x="1743582" y="1163105"/>
                </a:lnTo>
                <a:lnTo>
                  <a:pt x="1746437" y="1163423"/>
                </a:lnTo>
                <a:lnTo>
                  <a:pt x="1772123" y="1163423"/>
                </a:lnTo>
                <a:lnTo>
                  <a:pt x="1775295" y="1163105"/>
                </a:lnTo>
                <a:lnTo>
                  <a:pt x="1777832" y="1162469"/>
                </a:lnTo>
                <a:lnTo>
                  <a:pt x="1779734" y="1161514"/>
                </a:lnTo>
                <a:lnTo>
                  <a:pt x="1781637" y="1159923"/>
                </a:lnTo>
                <a:lnTo>
                  <a:pt x="1782906" y="1158332"/>
                </a:lnTo>
                <a:lnTo>
                  <a:pt x="1783857" y="1156104"/>
                </a:lnTo>
                <a:lnTo>
                  <a:pt x="1784174" y="1154195"/>
                </a:lnTo>
                <a:lnTo>
                  <a:pt x="1783857" y="1151968"/>
                </a:lnTo>
                <a:lnTo>
                  <a:pt x="1782271" y="1144330"/>
                </a:lnTo>
                <a:lnTo>
                  <a:pt x="1781637" y="1142103"/>
                </a:lnTo>
                <a:lnTo>
                  <a:pt x="1780369" y="1139875"/>
                </a:lnTo>
                <a:lnTo>
                  <a:pt x="1778783" y="1137648"/>
                </a:lnTo>
                <a:lnTo>
                  <a:pt x="1776563" y="1136057"/>
                </a:lnTo>
                <a:lnTo>
                  <a:pt x="1774343" y="1134784"/>
                </a:lnTo>
                <a:lnTo>
                  <a:pt x="1771489" y="1133829"/>
                </a:lnTo>
                <a:lnTo>
                  <a:pt x="1768635" y="1133193"/>
                </a:lnTo>
                <a:lnTo>
                  <a:pt x="1766098" y="1132875"/>
                </a:lnTo>
                <a:lnTo>
                  <a:pt x="1740728" y="1132875"/>
                </a:lnTo>
                <a:close/>
                <a:moveTo>
                  <a:pt x="1664619" y="1132875"/>
                </a:moveTo>
                <a:lnTo>
                  <a:pt x="1661765" y="1133193"/>
                </a:lnTo>
                <a:lnTo>
                  <a:pt x="1659545" y="1133829"/>
                </a:lnTo>
                <a:lnTo>
                  <a:pt x="1657325" y="1134784"/>
                </a:lnTo>
                <a:lnTo>
                  <a:pt x="1655422" y="1136057"/>
                </a:lnTo>
                <a:lnTo>
                  <a:pt x="1654154" y="1137648"/>
                </a:lnTo>
                <a:lnTo>
                  <a:pt x="1653203" y="1139875"/>
                </a:lnTo>
                <a:lnTo>
                  <a:pt x="1652568" y="1142103"/>
                </a:lnTo>
                <a:lnTo>
                  <a:pt x="1652568" y="1144330"/>
                </a:lnTo>
                <a:lnTo>
                  <a:pt x="1653837" y="1151649"/>
                </a:lnTo>
                <a:lnTo>
                  <a:pt x="1654471" y="1153877"/>
                </a:lnTo>
                <a:lnTo>
                  <a:pt x="1655422" y="1156104"/>
                </a:lnTo>
                <a:lnTo>
                  <a:pt x="1657008" y="1158332"/>
                </a:lnTo>
                <a:lnTo>
                  <a:pt x="1658911" y="1159923"/>
                </a:lnTo>
                <a:lnTo>
                  <a:pt x="1661131" y="1161196"/>
                </a:lnTo>
                <a:lnTo>
                  <a:pt x="1663668" y="1162469"/>
                </a:lnTo>
                <a:lnTo>
                  <a:pt x="1666205" y="1163105"/>
                </a:lnTo>
                <a:lnTo>
                  <a:pt x="1669376" y="1163105"/>
                </a:lnTo>
                <a:lnTo>
                  <a:pt x="1695063" y="1163423"/>
                </a:lnTo>
                <a:lnTo>
                  <a:pt x="1697917" y="1163105"/>
                </a:lnTo>
                <a:lnTo>
                  <a:pt x="1700137" y="1162469"/>
                </a:lnTo>
                <a:lnTo>
                  <a:pt x="1702357" y="1161514"/>
                </a:lnTo>
                <a:lnTo>
                  <a:pt x="1704576" y="1159923"/>
                </a:lnTo>
                <a:lnTo>
                  <a:pt x="1705845" y="1158332"/>
                </a:lnTo>
                <a:lnTo>
                  <a:pt x="1706796" y="1156104"/>
                </a:lnTo>
                <a:lnTo>
                  <a:pt x="1707430" y="1153877"/>
                </a:lnTo>
                <a:lnTo>
                  <a:pt x="1707113" y="1151649"/>
                </a:lnTo>
                <a:lnTo>
                  <a:pt x="1705845" y="1144330"/>
                </a:lnTo>
                <a:lnTo>
                  <a:pt x="1705211" y="1142103"/>
                </a:lnTo>
                <a:lnTo>
                  <a:pt x="1704259" y="1139875"/>
                </a:lnTo>
                <a:lnTo>
                  <a:pt x="1702357" y="1137648"/>
                </a:lnTo>
                <a:lnTo>
                  <a:pt x="1700137" y="1136057"/>
                </a:lnTo>
                <a:lnTo>
                  <a:pt x="1697917" y="1134784"/>
                </a:lnTo>
                <a:lnTo>
                  <a:pt x="1695697" y="1133829"/>
                </a:lnTo>
                <a:lnTo>
                  <a:pt x="1692843" y="1133193"/>
                </a:lnTo>
                <a:lnTo>
                  <a:pt x="1689989" y="1132875"/>
                </a:lnTo>
                <a:lnTo>
                  <a:pt x="1664619" y="1132875"/>
                </a:lnTo>
                <a:close/>
                <a:moveTo>
                  <a:pt x="1586924" y="1132875"/>
                </a:moveTo>
                <a:lnTo>
                  <a:pt x="1584704" y="1133511"/>
                </a:lnTo>
                <a:lnTo>
                  <a:pt x="1582167" y="1134784"/>
                </a:lnTo>
                <a:lnTo>
                  <a:pt x="1580264" y="1136057"/>
                </a:lnTo>
                <a:lnTo>
                  <a:pt x="1578679" y="1137648"/>
                </a:lnTo>
                <a:lnTo>
                  <a:pt x="1577727" y="1139875"/>
                </a:lnTo>
                <a:lnTo>
                  <a:pt x="1577093" y="1142103"/>
                </a:lnTo>
                <a:lnTo>
                  <a:pt x="1577093" y="1144330"/>
                </a:lnTo>
                <a:lnTo>
                  <a:pt x="1578044" y="1151649"/>
                </a:lnTo>
                <a:lnTo>
                  <a:pt x="1578362" y="1153877"/>
                </a:lnTo>
                <a:lnTo>
                  <a:pt x="1579313" y="1156104"/>
                </a:lnTo>
                <a:lnTo>
                  <a:pt x="1580899" y="1158332"/>
                </a:lnTo>
                <a:lnTo>
                  <a:pt x="1583118" y="1159923"/>
                </a:lnTo>
                <a:lnTo>
                  <a:pt x="1585338" y="1161196"/>
                </a:lnTo>
                <a:lnTo>
                  <a:pt x="1587558" y="1162151"/>
                </a:lnTo>
                <a:lnTo>
                  <a:pt x="1590412" y="1162787"/>
                </a:lnTo>
                <a:lnTo>
                  <a:pt x="1593266" y="1163105"/>
                </a:lnTo>
                <a:lnTo>
                  <a:pt x="1618953" y="1163105"/>
                </a:lnTo>
                <a:lnTo>
                  <a:pt x="1621807" y="1163105"/>
                </a:lnTo>
                <a:lnTo>
                  <a:pt x="1624344" y="1162469"/>
                </a:lnTo>
                <a:lnTo>
                  <a:pt x="1626564" y="1161196"/>
                </a:lnTo>
                <a:lnTo>
                  <a:pt x="1628467" y="1159923"/>
                </a:lnTo>
                <a:lnTo>
                  <a:pt x="1629735" y="1158332"/>
                </a:lnTo>
                <a:lnTo>
                  <a:pt x="1631004" y="1156104"/>
                </a:lnTo>
                <a:lnTo>
                  <a:pt x="1631321" y="1153877"/>
                </a:lnTo>
                <a:lnTo>
                  <a:pt x="1631321" y="1151649"/>
                </a:lnTo>
                <a:lnTo>
                  <a:pt x="1630370" y="1144330"/>
                </a:lnTo>
                <a:lnTo>
                  <a:pt x="1629735" y="1142103"/>
                </a:lnTo>
                <a:lnTo>
                  <a:pt x="1628784" y="1139875"/>
                </a:lnTo>
                <a:lnTo>
                  <a:pt x="1627198" y="1137648"/>
                </a:lnTo>
                <a:lnTo>
                  <a:pt x="1625296" y="1136057"/>
                </a:lnTo>
                <a:lnTo>
                  <a:pt x="1623076" y="1134784"/>
                </a:lnTo>
                <a:lnTo>
                  <a:pt x="1620856" y="1133829"/>
                </a:lnTo>
                <a:lnTo>
                  <a:pt x="1618002" y="1132875"/>
                </a:lnTo>
                <a:lnTo>
                  <a:pt x="1615148" y="1132875"/>
                </a:lnTo>
                <a:lnTo>
                  <a:pt x="1589778" y="1132875"/>
                </a:lnTo>
                <a:lnTo>
                  <a:pt x="1586924" y="1132875"/>
                </a:lnTo>
                <a:close/>
                <a:moveTo>
                  <a:pt x="1510815" y="1132875"/>
                </a:moveTo>
                <a:lnTo>
                  <a:pt x="1508278" y="1133511"/>
                </a:lnTo>
                <a:lnTo>
                  <a:pt x="1506058" y="1134784"/>
                </a:lnTo>
                <a:lnTo>
                  <a:pt x="1504155" y="1136057"/>
                </a:lnTo>
                <a:lnTo>
                  <a:pt x="1502569" y="1137648"/>
                </a:lnTo>
                <a:lnTo>
                  <a:pt x="1501618" y="1139875"/>
                </a:lnTo>
                <a:lnTo>
                  <a:pt x="1500984" y="1142103"/>
                </a:lnTo>
                <a:lnTo>
                  <a:pt x="1500667" y="1144330"/>
                </a:lnTo>
                <a:lnTo>
                  <a:pt x="1501301" y="1151649"/>
                </a:lnTo>
                <a:lnTo>
                  <a:pt x="1501618" y="1153877"/>
                </a:lnTo>
                <a:lnTo>
                  <a:pt x="1502569" y="1156104"/>
                </a:lnTo>
                <a:lnTo>
                  <a:pt x="1503838" y="1158332"/>
                </a:lnTo>
                <a:lnTo>
                  <a:pt x="1505741" y="1159923"/>
                </a:lnTo>
                <a:lnTo>
                  <a:pt x="1507960" y="1161196"/>
                </a:lnTo>
                <a:lnTo>
                  <a:pt x="1510180" y="1162151"/>
                </a:lnTo>
                <a:lnTo>
                  <a:pt x="1512717" y="1162787"/>
                </a:lnTo>
                <a:lnTo>
                  <a:pt x="1515888" y="1163105"/>
                </a:lnTo>
                <a:lnTo>
                  <a:pt x="1541575" y="1163105"/>
                </a:lnTo>
                <a:lnTo>
                  <a:pt x="1544430" y="1162787"/>
                </a:lnTo>
                <a:lnTo>
                  <a:pt x="1546966" y="1162151"/>
                </a:lnTo>
                <a:lnTo>
                  <a:pt x="1549503" y="1161196"/>
                </a:lnTo>
                <a:lnTo>
                  <a:pt x="1551406" y="1159923"/>
                </a:lnTo>
                <a:lnTo>
                  <a:pt x="1552992" y="1158332"/>
                </a:lnTo>
                <a:lnTo>
                  <a:pt x="1553943" y="1156104"/>
                </a:lnTo>
                <a:lnTo>
                  <a:pt x="1554577" y="1153877"/>
                </a:lnTo>
                <a:lnTo>
                  <a:pt x="1554577" y="1151649"/>
                </a:lnTo>
                <a:lnTo>
                  <a:pt x="1553943" y="1144330"/>
                </a:lnTo>
                <a:lnTo>
                  <a:pt x="1553626" y="1142103"/>
                </a:lnTo>
                <a:lnTo>
                  <a:pt x="1552675" y="1139875"/>
                </a:lnTo>
                <a:lnTo>
                  <a:pt x="1551089" y="1137648"/>
                </a:lnTo>
                <a:lnTo>
                  <a:pt x="1549186" y="1136057"/>
                </a:lnTo>
                <a:lnTo>
                  <a:pt x="1546966" y="1134784"/>
                </a:lnTo>
                <a:lnTo>
                  <a:pt x="1544430" y="1133511"/>
                </a:lnTo>
                <a:lnTo>
                  <a:pt x="1541893" y="1132875"/>
                </a:lnTo>
                <a:lnTo>
                  <a:pt x="1539038" y="1132875"/>
                </a:lnTo>
                <a:lnTo>
                  <a:pt x="1513986" y="1132875"/>
                </a:lnTo>
                <a:lnTo>
                  <a:pt x="1510815" y="1132875"/>
                </a:lnTo>
                <a:close/>
                <a:moveTo>
                  <a:pt x="981854" y="1117600"/>
                </a:moveTo>
                <a:lnTo>
                  <a:pt x="1765464" y="1117600"/>
                </a:lnTo>
                <a:lnTo>
                  <a:pt x="1769904" y="1117918"/>
                </a:lnTo>
                <a:lnTo>
                  <a:pt x="1774978" y="1118236"/>
                </a:lnTo>
                <a:lnTo>
                  <a:pt x="1779417" y="1119191"/>
                </a:lnTo>
                <a:lnTo>
                  <a:pt x="1783857" y="1120464"/>
                </a:lnTo>
                <a:lnTo>
                  <a:pt x="1787980" y="1122373"/>
                </a:lnTo>
                <a:lnTo>
                  <a:pt x="1792736" y="1124283"/>
                </a:lnTo>
                <a:lnTo>
                  <a:pt x="1796542" y="1126510"/>
                </a:lnTo>
                <a:lnTo>
                  <a:pt x="1800347" y="1129056"/>
                </a:lnTo>
                <a:lnTo>
                  <a:pt x="1803836" y="1131602"/>
                </a:lnTo>
                <a:lnTo>
                  <a:pt x="1807007" y="1134466"/>
                </a:lnTo>
                <a:lnTo>
                  <a:pt x="1810495" y="1137648"/>
                </a:lnTo>
                <a:lnTo>
                  <a:pt x="1813032" y="1141148"/>
                </a:lnTo>
                <a:lnTo>
                  <a:pt x="1815252" y="1144649"/>
                </a:lnTo>
                <a:lnTo>
                  <a:pt x="1817155" y="1148149"/>
                </a:lnTo>
                <a:lnTo>
                  <a:pt x="1818740" y="1151649"/>
                </a:lnTo>
                <a:lnTo>
                  <a:pt x="1820009" y="1155468"/>
                </a:lnTo>
                <a:lnTo>
                  <a:pt x="1903095" y="1502007"/>
                </a:lnTo>
                <a:lnTo>
                  <a:pt x="1903412" y="1506144"/>
                </a:lnTo>
                <a:lnTo>
                  <a:pt x="1903412" y="1509963"/>
                </a:lnTo>
                <a:lnTo>
                  <a:pt x="1903095" y="1513463"/>
                </a:lnTo>
                <a:lnTo>
                  <a:pt x="1901827" y="1516963"/>
                </a:lnTo>
                <a:lnTo>
                  <a:pt x="1900241" y="1520146"/>
                </a:lnTo>
                <a:lnTo>
                  <a:pt x="1898338" y="1523646"/>
                </a:lnTo>
                <a:lnTo>
                  <a:pt x="1895801" y="1526510"/>
                </a:lnTo>
                <a:lnTo>
                  <a:pt x="1892313" y="1529056"/>
                </a:lnTo>
                <a:lnTo>
                  <a:pt x="1889142" y="1531283"/>
                </a:lnTo>
                <a:lnTo>
                  <a:pt x="1885336" y="1533511"/>
                </a:lnTo>
                <a:lnTo>
                  <a:pt x="1881214" y="1535420"/>
                </a:lnTo>
                <a:lnTo>
                  <a:pt x="1876774" y="1537011"/>
                </a:lnTo>
                <a:lnTo>
                  <a:pt x="1871700" y="1538284"/>
                </a:lnTo>
                <a:lnTo>
                  <a:pt x="1866626" y="1538920"/>
                </a:lnTo>
                <a:lnTo>
                  <a:pt x="1861235" y="1539557"/>
                </a:lnTo>
                <a:lnTo>
                  <a:pt x="1855210" y="1539875"/>
                </a:lnTo>
                <a:lnTo>
                  <a:pt x="884498" y="1539875"/>
                </a:lnTo>
                <a:lnTo>
                  <a:pt x="878789" y="1539557"/>
                </a:lnTo>
                <a:lnTo>
                  <a:pt x="873081" y="1538920"/>
                </a:lnTo>
                <a:lnTo>
                  <a:pt x="868007" y="1537966"/>
                </a:lnTo>
                <a:lnTo>
                  <a:pt x="863250" y="1536693"/>
                </a:lnTo>
                <a:lnTo>
                  <a:pt x="858811" y="1535102"/>
                </a:lnTo>
                <a:lnTo>
                  <a:pt x="854371" y="1533193"/>
                </a:lnTo>
                <a:lnTo>
                  <a:pt x="850566" y="1531283"/>
                </a:lnTo>
                <a:lnTo>
                  <a:pt x="847394" y="1528737"/>
                </a:lnTo>
                <a:lnTo>
                  <a:pt x="844223" y="1526192"/>
                </a:lnTo>
                <a:lnTo>
                  <a:pt x="842003" y="1523010"/>
                </a:lnTo>
                <a:lnTo>
                  <a:pt x="839466" y="1519827"/>
                </a:lnTo>
                <a:lnTo>
                  <a:pt x="837881" y="1516645"/>
                </a:lnTo>
                <a:lnTo>
                  <a:pt x="836929" y="1513463"/>
                </a:lnTo>
                <a:lnTo>
                  <a:pt x="836612" y="1509963"/>
                </a:lnTo>
                <a:lnTo>
                  <a:pt x="836612" y="1506144"/>
                </a:lnTo>
                <a:lnTo>
                  <a:pt x="837246" y="1502007"/>
                </a:lnTo>
                <a:lnTo>
                  <a:pt x="926675" y="1154832"/>
                </a:lnTo>
                <a:lnTo>
                  <a:pt x="927943" y="1151331"/>
                </a:lnTo>
                <a:lnTo>
                  <a:pt x="929529" y="1147513"/>
                </a:lnTo>
                <a:lnTo>
                  <a:pt x="931432" y="1144012"/>
                </a:lnTo>
                <a:lnTo>
                  <a:pt x="933969" y="1140830"/>
                </a:lnTo>
                <a:lnTo>
                  <a:pt x="936823" y="1137011"/>
                </a:lnTo>
                <a:lnTo>
                  <a:pt x="939677" y="1134147"/>
                </a:lnTo>
                <a:lnTo>
                  <a:pt x="943165" y="1131283"/>
                </a:lnTo>
                <a:lnTo>
                  <a:pt x="946971" y="1128738"/>
                </a:lnTo>
                <a:lnTo>
                  <a:pt x="950776" y="1126192"/>
                </a:lnTo>
                <a:lnTo>
                  <a:pt x="954582" y="1124283"/>
                </a:lnTo>
                <a:lnTo>
                  <a:pt x="959021" y="1122373"/>
                </a:lnTo>
                <a:lnTo>
                  <a:pt x="963461" y="1120464"/>
                </a:lnTo>
                <a:lnTo>
                  <a:pt x="967901" y="1119191"/>
                </a:lnTo>
                <a:lnTo>
                  <a:pt x="972341" y="1118236"/>
                </a:lnTo>
                <a:lnTo>
                  <a:pt x="977097" y="1117918"/>
                </a:lnTo>
                <a:lnTo>
                  <a:pt x="981854" y="1117600"/>
                </a:lnTo>
                <a:close/>
                <a:moveTo>
                  <a:pt x="268430" y="1104583"/>
                </a:moveTo>
                <a:lnTo>
                  <a:pt x="254469" y="1109980"/>
                </a:lnTo>
                <a:lnTo>
                  <a:pt x="240826" y="1115695"/>
                </a:lnTo>
                <a:lnTo>
                  <a:pt x="227500" y="1121410"/>
                </a:lnTo>
                <a:lnTo>
                  <a:pt x="214808" y="1127443"/>
                </a:lnTo>
                <a:lnTo>
                  <a:pt x="202433" y="1133158"/>
                </a:lnTo>
                <a:lnTo>
                  <a:pt x="190693" y="1139190"/>
                </a:lnTo>
                <a:lnTo>
                  <a:pt x="178954" y="1145858"/>
                </a:lnTo>
                <a:lnTo>
                  <a:pt x="168483" y="1151890"/>
                </a:lnTo>
                <a:lnTo>
                  <a:pt x="178954" y="1168718"/>
                </a:lnTo>
                <a:lnTo>
                  <a:pt x="190376" y="1185228"/>
                </a:lnTo>
                <a:lnTo>
                  <a:pt x="202433" y="1201420"/>
                </a:lnTo>
                <a:lnTo>
                  <a:pt x="214490" y="1217295"/>
                </a:lnTo>
                <a:lnTo>
                  <a:pt x="227182" y="1232535"/>
                </a:lnTo>
                <a:lnTo>
                  <a:pt x="240191" y="1247775"/>
                </a:lnTo>
                <a:lnTo>
                  <a:pt x="253835" y="1262380"/>
                </a:lnTo>
                <a:lnTo>
                  <a:pt x="267479" y="1276668"/>
                </a:lnTo>
                <a:lnTo>
                  <a:pt x="283026" y="1291590"/>
                </a:lnTo>
                <a:lnTo>
                  <a:pt x="299208" y="1306195"/>
                </a:lnTo>
                <a:lnTo>
                  <a:pt x="313486" y="1301750"/>
                </a:lnTo>
                <a:lnTo>
                  <a:pt x="327764" y="1297623"/>
                </a:lnTo>
                <a:lnTo>
                  <a:pt x="357590" y="1289368"/>
                </a:lnTo>
                <a:lnTo>
                  <a:pt x="350609" y="1278890"/>
                </a:lnTo>
                <a:lnTo>
                  <a:pt x="344264" y="1268413"/>
                </a:lnTo>
                <a:lnTo>
                  <a:pt x="337600" y="1257618"/>
                </a:lnTo>
                <a:lnTo>
                  <a:pt x="331572" y="1246823"/>
                </a:lnTo>
                <a:lnTo>
                  <a:pt x="325543" y="1235710"/>
                </a:lnTo>
                <a:lnTo>
                  <a:pt x="319515" y="1224280"/>
                </a:lnTo>
                <a:lnTo>
                  <a:pt x="313803" y="1213168"/>
                </a:lnTo>
                <a:lnTo>
                  <a:pt x="308409" y="1201738"/>
                </a:lnTo>
                <a:lnTo>
                  <a:pt x="302381" y="1189990"/>
                </a:lnTo>
                <a:lnTo>
                  <a:pt x="297304" y="1178243"/>
                </a:lnTo>
                <a:lnTo>
                  <a:pt x="287151" y="1154113"/>
                </a:lnTo>
                <a:lnTo>
                  <a:pt x="277315" y="1129665"/>
                </a:lnTo>
                <a:lnTo>
                  <a:pt x="268430" y="1104583"/>
                </a:lnTo>
                <a:close/>
                <a:moveTo>
                  <a:pt x="469277" y="1050290"/>
                </a:moveTo>
                <a:lnTo>
                  <a:pt x="441990" y="1055688"/>
                </a:lnTo>
                <a:lnTo>
                  <a:pt x="415337" y="1061403"/>
                </a:lnTo>
                <a:lnTo>
                  <a:pt x="389319" y="1067118"/>
                </a:lnTo>
                <a:lnTo>
                  <a:pt x="364253" y="1073785"/>
                </a:lnTo>
                <a:lnTo>
                  <a:pt x="343946" y="1079500"/>
                </a:lnTo>
                <a:lnTo>
                  <a:pt x="324274" y="1085215"/>
                </a:lnTo>
                <a:lnTo>
                  <a:pt x="328716" y="1098550"/>
                </a:lnTo>
                <a:lnTo>
                  <a:pt x="333476" y="1111568"/>
                </a:lnTo>
                <a:lnTo>
                  <a:pt x="338235" y="1124585"/>
                </a:lnTo>
                <a:lnTo>
                  <a:pt x="343629" y="1136968"/>
                </a:lnTo>
                <a:lnTo>
                  <a:pt x="349023" y="1149668"/>
                </a:lnTo>
                <a:lnTo>
                  <a:pt x="354417" y="1162050"/>
                </a:lnTo>
                <a:lnTo>
                  <a:pt x="360446" y="1174115"/>
                </a:lnTo>
                <a:lnTo>
                  <a:pt x="366157" y="1186180"/>
                </a:lnTo>
                <a:lnTo>
                  <a:pt x="371868" y="1197928"/>
                </a:lnTo>
                <a:lnTo>
                  <a:pt x="378531" y="1209358"/>
                </a:lnTo>
                <a:lnTo>
                  <a:pt x="384560" y="1220788"/>
                </a:lnTo>
                <a:lnTo>
                  <a:pt x="391223" y="1232218"/>
                </a:lnTo>
                <a:lnTo>
                  <a:pt x="397886" y="1243013"/>
                </a:lnTo>
                <a:lnTo>
                  <a:pt x="404549" y="1254125"/>
                </a:lnTo>
                <a:lnTo>
                  <a:pt x="411530" y="1264603"/>
                </a:lnTo>
                <a:lnTo>
                  <a:pt x="418510" y="1275080"/>
                </a:lnTo>
                <a:lnTo>
                  <a:pt x="442942" y="1270318"/>
                </a:lnTo>
                <a:lnTo>
                  <a:pt x="467373" y="1265873"/>
                </a:lnTo>
                <a:lnTo>
                  <a:pt x="492440" y="1261428"/>
                </a:lnTo>
                <a:lnTo>
                  <a:pt x="518140" y="1257618"/>
                </a:lnTo>
                <a:lnTo>
                  <a:pt x="510525" y="1234123"/>
                </a:lnTo>
                <a:lnTo>
                  <a:pt x="503545" y="1209993"/>
                </a:lnTo>
                <a:lnTo>
                  <a:pt x="496882" y="1184910"/>
                </a:lnTo>
                <a:lnTo>
                  <a:pt x="490219" y="1159193"/>
                </a:lnTo>
                <a:lnTo>
                  <a:pt x="484507" y="1132840"/>
                </a:lnTo>
                <a:lnTo>
                  <a:pt x="479113" y="1106170"/>
                </a:lnTo>
                <a:lnTo>
                  <a:pt x="473719" y="1078548"/>
                </a:lnTo>
                <a:lnTo>
                  <a:pt x="469277" y="1050290"/>
                </a:lnTo>
                <a:close/>
                <a:moveTo>
                  <a:pt x="742467" y="1024890"/>
                </a:moveTo>
                <a:lnTo>
                  <a:pt x="714228" y="1025525"/>
                </a:lnTo>
                <a:lnTo>
                  <a:pt x="686623" y="1026478"/>
                </a:lnTo>
                <a:lnTo>
                  <a:pt x="659019" y="1028065"/>
                </a:lnTo>
                <a:lnTo>
                  <a:pt x="631731" y="1029653"/>
                </a:lnTo>
                <a:lnTo>
                  <a:pt x="605396" y="1031875"/>
                </a:lnTo>
                <a:lnTo>
                  <a:pt x="578743" y="1034733"/>
                </a:lnTo>
                <a:lnTo>
                  <a:pt x="553043" y="1037908"/>
                </a:lnTo>
                <a:lnTo>
                  <a:pt x="527025" y="1041083"/>
                </a:lnTo>
                <a:lnTo>
                  <a:pt x="530515" y="1059498"/>
                </a:lnTo>
                <a:lnTo>
                  <a:pt x="533688" y="1077595"/>
                </a:lnTo>
                <a:lnTo>
                  <a:pt x="536861" y="1095375"/>
                </a:lnTo>
                <a:lnTo>
                  <a:pt x="540351" y="1112838"/>
                </a:lnTo>
                <a:lnTo>
                  <a:pt x="543841" y="1130300"/>
                </a:lnTo>
                <a:lnTo>
                  <a:pt x="547966" y="1147128"/>
                </a:lnTo>
                <a:lnTo>
                  <a:pt x="552091" y="1163638"/>
                </a:lnTo>
                <a:lnTo>
                  <a:pt x="556216" y="1180148"/>
                </a:lnTo>
                <a:lnTo>
                  <a:pt x="561292" y="1198245"/>
                </a:lnTo>
                <a:lnTo>
                  <a:pt x="566686" y="1216025"/>
                </a:lnTo>
                <a:lnTo>
                  <a:pt x="572080" y="1233488"/>
                </a:lnTo>
                <a:lnTo>
                  <a:pt x="577792" y="1250315"/>
                </a:lnTo>
                <a:lnTo>
                  <a:pt x="597464" y="1248410"/>
                </a:lnTo>
                <a:lnTo>
                  <a:pt x="617771" y="1246823"/>
                </a:lnTo>
                <a:lnTo>
                  <a:pt x="638077" y="1245235"/>
                </a:lnTo>
                <a:lnTo>
                  <a:pt x="658701" y="1243648"/>
                </a:lnTo>
                <a:lnTo>
                  <a:pt x="679326" y="1242378"/>
                </a:lnTo>
                <a:lnTo>
                  <a:pt x="699950" y="1241425"/>
                </a:lnTo>
                <a:lnTo>
                  <a:pt x="721208" y="1240790"/>
                </a:lnTo>
                <a:lnTo>
                  <a:pt x="742467" y="1240473"/>
                </a:lnTo>
                <a:lnTo>
                  <a:pt x="742467" y="1024890"/>
                </a:lnTo>
                <a:close/>
                <a:moveTo>
                  <a:pt x="507035" y="801688"/>
                </a:moveTo>
                <a:lnTo>
                  <a:pt x="507670" y="824865"/>
                </a:lnTo>
                <a:lnTo>
                  <a:pt x="508622" y="848360"/>
                </a:lnTo>
                <a:lnTo>
                  <a:pt x="509573" y="871538"/>
                </a:lnTo>
                <a:lnTo>
                  <a:pt x="510843" y="894080"/>
                </a:lnTo>
                <a:lnTo>
                  <a:pt x="512746" y="916940"/>
                </a:lnTo>
                <a:lnTo>
                  <a:pt x="514650" y="939165"/>
                </a:lnTo>
                <a:lnTo>
                  <a:pt x="516871" y="961073"/>
                </a:lnTo>
                <a:lnTo>
                  <a:pt x="519410" y="982663"/>
                </a:lnTo>
                <a:lnTo>
                  <a:pt x="546062" y="979170"/>
                </a:lnTo>
                <a:lnTo>
                  <a:pt x="572715" y="976313"/>
                </a:lnTo>
                <a:lnTo>
                  <a:pt x="600319" y="973455"/>
                </a:lnTo>
                <a:lnTo>
                  <a:pt x="627924" y="971233"/>
                </a:lnTo>
                <a:lnTo>
                  <a:pt x="656163" y="969328"/>
                </a:lnTo>
                <a:lnTo>
                  <a:pt x="684720" y="967740"/>
                </a:lnTo>
                <a:lnTo>
                  <a:pt x="713276" y="966788"/>
                </a:lnTo>
                <a:lnTo>
                  <a:pt x="742467" y="965835"/>
                </a:lnTo>
                <a:lnTo>
                  <a:pt x="742467" y="801688"/>
                </a:lnTo>
                <a:lnTo>
                  <a:pt x="507035" y="801688"/>
                </a:lnTo>
                <a:close/>
                <a:moveTo>
                  <a:pt x="273824" y="801688"/>
                </a:moveTo>
                <a:lnTo>
                  <a:pt x="274142" y="816610"/>
                </a:lnTo>
                <a:lnTo>
                  <a:pt x="275094" y="831533"/>
                </a:lnTo>
                <a:lnTo>
                  <a:pt x="276045" y="846455"/>
                </a:lnTo>
                <a:lnTo>
                  <a:pt x="276997" y="860743"/>
                </a:lnTo>
                <a:lnTo>
                  <a:pt x="278584" y="875665"/>
                </a:lnTo>
                <a:lnTo>
                  <a:pt x="280170" y="889953"/>
                </a:lnTo>
                <a:lnTo>
                  <a:pt x="281757" y="904558"/>
                </a:lnTo>
                <a:lnTo>
                  <a:pt x="283660" y="918845"/>
                </a:lnTo>
                <a:lnTo>
                  <a:pt x="285882" y="933133"/>
                </a:lnTo>
                <a:lnTo>
                  <a:pt x="288737" y="947103"/>
                </a:lnTo>
                <a:lnTo>
                  <a:pt x="291276" y="961073"/>
                </a:lnTo>
                <a:lnTo>
                  <a:pt x="293814" y="975043"/>
                </a:lnTo>
                <a:lnTo>
                  <a:pt x="296670" y="988695"/>
                </a:lnTo>
                <a:lnTo>
                  <a:pt x="299842" y="1002665"/>
                </a:lnTo>
                <a:lnTo>
                  <a:pt x="303015" y="1015683"/>
                </a:lnTo>
                <a:lnTo>
                  <a:pt x="306823" y="1029335"/>
                </a:lnTo>
                <a:lnTo>
                  <a:pt x="324909" y="1023938"/>
                </a:lnTo>
                <a:lnTo>
                  <a:pt x="343312" y="1018858"/>
                </a:lnTo>
                <a:lnTo>
                  <a:pt x="362032" y="1013778"/>
                </a:lnTo>
                <a:lnTo>
                  <a:pt x="381070" y="1009015"/>
                </a:lnTo>
                <a:lnTo>
                  <a:pt x="400742" y="1004570"/>
                </a:lnTo>
                <a:lnTo>
                  <a:pt x="420414" y="1000125"/>
                </a:lnTo>
                <a:lnTo>
                  <a:pt x="440721" y="995998"/>
                </a:lnTo>
                <a:lnTo>
                  <a:pt x="461345" y="992188"/>
                </a:lnTo>
                <a:lnTo>
                  <a:pt x="458489" y="969328"/>
                </a:lnTo>
                <a:lnTo>
                  <a:pt x="456268" y="945833"/>
                </a:lnTo>
                <a:lnTo>
                  <a:pt x="454047" y="922655"/>
                </a:lnTo>
                <a:lnTo>
                  <a:pt x="452461" y="899160"/>
                </a:lnTo>
                <a:lnTo>
                  <a:pt x="451191" y="874713"/>
                </a:lnTo>
                <a:lnTo>
                  <a:pt x="449922" y="850900"/>
                </a:lnTo>
                <a:lnTo>
                  <a:pt x="448970" y="826135"/>
                </a:lnTo>
                <a:lnTo>
                  <a:pt x="448653" y="801688"/>
                </a:lnTo>
                <a:lnTo>
                  <a:pt x="273824" y="801688"/>
                </a:lnTo>
                <a:close/>
                <a:moveTo>
                  <a:pt x="59334" y="801688"/>
                </a:moveTo>
                <a:lnTo>
                  <a:pt x="60286" y="821690"/>
                </a:lnTo>
                <a:lnTo>
                  <a:pt x="62507" y="841693"/>
                </a:lnTo>
                <a:lnTo>
                  <a:pt x="64411" y="861378"/>
                </a:lnTo>
                <a:lnTo>
                  <a:pt x="67266" y="881380"/>
                </a:lnTo>
                <a:lnTo>
                  <a:pt x="70439" y="900748"/>
                </a:lnTo>
                <a:lnTo>
                  <a:pt x="74247" y="919798"/>
                </a:lnTo>
                <a:lnTo>
                  <a:pt x="78372" y="938848"/>
                </a:lnTo>
                <a:lnTo>
                  <a:pt x="83448" y="957898"/>
                </a:lnTo>
                <a:lnTo>
                  <a:pt x="88525" y="976630"/>
                </a:lnTo>
                <a:lnTo>
                  <a:pt x="94236" y="995045"/>
                </a:lnTo>
                <a:lnTo>
                  <a:pt x="100899" y="1013143"/>
                </a:lnTo>
                <a:lnTo>
                  <a:pt x="107245" y="1031240"/>
                </a:lnTo>
                <a:lnTo>
                  <a:pt x="114860" y="1049020"/>
                </a:lnTo>
                <a:lnTo>
                  <a:pt x="122475" y="1066483"/>
                </a:lnTo>
                <a:lnTo>
                  <a:pt x="130408" y="1083628"/>
                </a:lnTo>
                <a:lnTo>
                  <a:pt x="138975" y="1100773"/>
                </a:lnTo>
                <a:lnTo>
                  <a:pt x="150080" y="1094740"/>
                </a:lnTo>
                <a:lnTo>
                  <a:pt x="161185" y="1088390"/>
                </a:lnTo>
                <a:lnTo>
                  <a:pt x="172925" y="1082358"/>
                </a:lnTo>
                <a:lnTo>
                  <a:pt x="184982" y="1076325"/>
                </a:lnTo>
                <a:lnTo>
                  <a:pt x="197039" y="1070293"/>
                </a:lnTo>
                <a:lnTo>
                  <a:pt x="209731" y="1064895"/>
                </a:lnTo>
                <a:lnTo>
                  <a:pt x="222740" y="1059498"/>
                </a:lnTo>
                <a:lnTo>
                  <a:pt x="236066" y="1054100"/>
                </a:lnTo>
                <a:lnTo>
                  <a:pt x="250979" y="1048385"/>
                </a:lnTo>
                <a:lnTo>
                  <a:pt x="247172" y="1033780"/>
                </a:lnTo>
                <a:lnTo>
                  <a:pt x="243364" y="1019175"/>
                </a:lnTo>
                <a:lnTo>
                  <a:pt x="240191" y="1004570"/>
                </a:lnTo>
                <a:lnTo>
                  <a:pt x="236701" y="989330"/>
                </a:lnTo>
                <a:lnTo>
                  <a:pt x="233528" y="974408"/>
                </a:lnTo>
                <a:lnTo>
                  <a:pt x="230672" y="959168"/>
                </a:lnTo>
                <a:lnTo>
                  <a:pt x="228134" y="943928"/>
                </a:lnTo>
                <a:lnTo>
                  <a:pt x="225913" y="928370"/>
                </a:lnTo>
                <a:lnTo>
                  <a:pt x="223692" y="912813"/>
                </a:lnTo>
                <a:lnTo>
                  <a:pt x="221788" y="897573"/>
                </a:lnTo>
                <a:lnTo>
                  <a:pt x="220202" y="881698"/>
                </a:lnTo>
                <a:lnTo>
                  <a:pt x="218615" y="865823"/>
                </a:lnTo>
                <a:lnTo>
                  <a:pt x="217029" y="849948"/>
                </a:lnTo>
                <a:lnTo>
                  <a:pt x="216077" y="834073"/>
                </a:lnTo>
                <a:lnTo>
                  <a:pt x="215125" y="817880"/>
                </a:lnTo>
                <a:lnTo>
                  <a:pt x="214808" y="801688"/>
                </a:lnTo>
                <a:lnTo>
                  <a:pt x="59334" y="801688"/>
                </a:lnTo>
                <a:close/>
                <a:moveTo>
                  <a:pt x="1734820" y="720725"/>
                </a:moveTo>
                <a:lnTo>
                  <a:pt x="1735138" y="764540"/>
                </a:lnTo>
                <a:lnTo>
                  <a:pt x="1735138" y="861378"/>
                </a:lnTo>
                <a:lnTo>
                  <a:pt x="1735138" y="913765"/>
                </a:lnTo>
                <a:lnTo>
                  <a:pt x="1734503" y="960120"/>
                </a:lnTo>
                <a:lnTo>
                  <a:pt x="1734185" y="979488"/>
                </a:lnTo>
                <a:lnTo>
                  <a:pt x="1733549" y="994728"/>
                </a:lnTo>
                <a:lnTo>
                  <a:pt x="1732914" y="1005840"/>
                </a:lnTo>
                <a:lnTo>
                  <a:pt x="1732596" y="1009333"/>
                </a:lnTo>
                <a:lnTo>
                  <a:pt x="1732278" y="1011238"/>
                </a:lnTo>
                <a:lnTo>
                  <a:pt x="1731642" y="1011873"/>
                </a:lnTo>
                <a:lnTo>
                  <a:pt x="1730689" y="1012190"/>
                </a:lnTo>
                <a:lnTo>
                  <a:pt x="1727511" y="1013143"/>
                </a:lnTo>
                <a:lnTo>
                  <a:pt x="1722744" y="1014095"/>
                </a:lnTo>
                <a:lnTo>
                  <a:pt x="1716071" y="1014730"/>
                </a:lnTo>
                <a:lnTo>
                  <a:pt x="1708443" y="1015365"/>
                </a:lnTo>
                <a:lnTo>
                  <a:pt x="1698910" y="1015683"/>
                </a:lnTo>
                <a:lnTo>
                  <a:pt x="1676982" y="1016000"/>
                </a:lnTo>
                <a:lnTo>
                  <a:pt x="1650923" y="1016000"/>
                </a:lnTo>
                <a:lnTo>
                  <a:pt x="1622321" y="1015683"/>
                </a:lnTo>
                <a:lnTo>
                  <a:pt x="1591496" y="1014730"/>
                </a:lnTo>
                <a:lnTo>
                  <a:pt x="1559716" y="1013778"/>
                </a:lnTo>
                <a:lnTo>
                  <a:pt x="1497746" y="1011555"/>
                </a:lnTo>
                <a:lnTo>
                  <a:pt x="1443404" y="1009333"/>
                </a:lnTo>
                <a:lnTo>
                  <a:pt x="1390650" y="1006793"/>
                </a:lnTo>
                <a:lnTo>
                  <a:pt x="1438319" y="1005205"/>
                </a:lnTo>
                <a:lnTo>
                  <a:pt x="1487259" y="1003300"/>
                </a:lnTo>
                <a:lnTo>
                  <a:pt x="1543509" y="1000443"/>
                </a:lnTo>
                <a:lnTo>
                  <a:pt x="1572428" y="998538"/>
                </a:lnTo>
                <a:lnTo>
                  <a:pt x="1600394" y="996633"/>
                </a:lnTo>
                <a:lnTo>
                  <a:pt x="1626771" y="994410"/>
                </a:lnTo>
                <a:lnTo>
                  <a:pt x="1650605" y="992188"/>
                </a:lnTo>
                <a:lnTo>
                  <a:pt x="1671262" y="989648"/>
                </a:lnTo>
                <a:lnTo>
                  <a:pt x="1679842" y="988378"/>
                </a:lnTo>
                <a:lnTo>
                  <a:pt x="1687787" y="986790"/>
                </a:lnTo>
                <a:lnTo>
                  <a:pt x="1693825" y="985520"/>
                </a:lnTo>
                <a:lnTo>
                  <a:pt x="1698592" y="983933"/>
                </a:lnTo>
                <a:lnTo>
                  <a:pt x="1702088" y="982028"/>
                </a:lnTo>
                <a:lnTo>
                  <a:pt x="1703359" y="981075"/>
                </a:lnTo>
                <a:lnTo>
                  <a:pt x="1704312" y="980440"/>
                </a:lnTo>
                <a:lnTo>
                  <a:pt x="1705266" y="978218"/>
                </a:lnTo>
                <a:lnTo>
                  <a:pt x="1706219" y="974725"/>
                </a:lnTo>
                <a:lnTo>
                  <a:pt x="1707490" y="969963"/>
                </a:lnTo>
                <a:lnTo>
                  <a:pt x="1708443" y="963930"/>
                </a:lnTo>
                <a:lnTo>
                  <a:pt x="1710986" y="949960"/>
                </a:lnTo>
                <a:lnTo>
                  <a:pt x="1713528" y="932498"/>
                </a:lnTo>
                <a:lnTo>
                  <a:pt x="1716071" y="912178"/>
                </a:lnTo>
                <a:lnTo>
                  <a:pt x="1718613" y="890270"/>
                </a:lnTo>
                <a:lnTo>
                  <a:pt x="1723698" y="844233"/>
                </a:lnTo>
                <a:lnTo>
                  <a:pt x="1728147" y="798513"/>
                </a:lnTo>
                <a:lnTo>
                  <a:pt x="1731642" y="759143"/>
                </a:lnTo>
                <a:lnTo>
                  <a:pt x="1734820" y="720725"/>
                </a:lnTo>
                <a:close/>
                <a:moveTo>
                  <a:pt x="519410" y="561340"/>
                </a:moveTo>
                <a:lnTo>
                  <a:pt x="516871" y="583565"/>
                </a:lnTo>
                <a:lnTo>
                  <a:pt x="514650" y="605473"/>
                </a:lnTo>
                <a:lnTo>
                  <a:pt x="512746" y="627698"/>
                </a:lnTo>
                <a:lnTo>
                  <a:pt x="510843" y="650240"/>
                </a:lnTo>
                <a:lnTo>
                  <a:pt x="509573" y="673100"/>
                </a:lnTo>
                <a:lnTo>
                  <a:pt x="508622" y="695960"/>
                </a:lnTo>
                <a:lnTo>
                  <a:pt x="507670" y="719138"/>
                </a:lnTo>
                <a:lnTo>
                  <a:pt x="507352" y="742950"/>
                </a:lnTo>
                <a:lnTo>
                  <a:pt x="742467" y="742950"/>
                </a:lnTo>
                <a:lnTo>
                  <a:pt x="742467" y="578485"/>
                </a:lnTo>
                <a:lnTo>
                  <a:pt x="713276" y="577850"/>
                </a:lnTo>
                <a:lnTo>
                  <a:pt x="684720" y="576580"/>
                </a:lnTo>
                <a:lnTo>
                  <a:pt x="656163" y="575310"/>
                </a:lnTo>
                <a:lnTo>
                  <a:pt x="627924" y="573405"/>
                </a:lnTo>
                <a:lnTo>
                  <a:pt x="600319" y="570865"/>
                </a:lnTo>
                <a:lnTo>
                  <a:pt x="573032" y="568325"/>
                </a:lnTo>
                <a:lnTo>
                  <a:pt x="546062" y="564833"/>
                </a:lnTo>
                <a:lnTo>
                  <a:pt x="519410" y="561340"/>
                </a:lnTo>
                <a:close/>
                <a:moveTo>
                  <a:pt x="1074474" y="554038"/>
                </a:moveTo>
                <a:lnTo>
                  <a:pt x="1100533" y="554038"/>
                </a:lnTo>
                <a:lnTo>
                  <a:pt x="1129135" y="554356"/>
                </a:lnTo>
                <a:lnTo>
                  <a:pt x="1159961" y="555308"/>
                </a:lnTo>
                <a:lnTo>
                  <a:pt x="1191422" y="556261"/>
                </a:lnTo>
                <a:lnTo>
                  <a:pt x="1253392" y="558483"/>
                </a:lnTo>
                <a:lnTo>
                  <a:pt x="1307734" y="560706"/>
                </a:lnTo>
                <a:lnTo>
                  <a:pt x="1360488" y="563246"/>
                </a:lnTo>
                <a:lnTo>
                  <a:pt x="1313137" y="564833"/>
                </a:lnTo>
                <a:lnTo>
                  <a:pt x="1264197" y="567056"/>
                </a:lnTo>
                <a:lnTo>
                  <a:pt x="1207947" y="569913"/>
                </a:lnTo>
                <a:lnTo>
                  <a:pt x="1179028" y="571501"/>
                </a:lnTo>
                <a:lnTo>
                  <a:pt x="1150745" y="573406"/>
                </a:lnTo>
                <a:lnTo>
                  <a:pt x="1124685" y="575628"/>
                </a:lnTo>
                <a:lnTo>
                  <a:pt x="1100851" y="577851"/>
                </a:lnTo>
                <a:lnTo>
                  <a:pt x="1079877" y="580391"/>
                </a:lnTo>
                <a:lnTo>
                  <a:pt x="1071296" y="581661"/>
                </a:lnTo>
                <a:lnTo>
                  <a:pt x="1063669" y="583248"/>
                </a:lnTo>
                <a:lnTo>
                  <a:pt x="1057313" y="584836"/>
                </a:lnTo>
                <a:lnTo>
                  <a:pt x="1052546" y="586423"/>
                </a:lnTo>
                <a:lnTo>
                  <a:pt x="1049051" y="588011"/>
                </a:lnTo>
                <a:lnTo>
                  <a:pt x="1048097" y="588963"/>
                </a:lnTo>
                <a:lnTo>
                  <a:pt x="1046826" y="589598"/>
                </a:lnTo>
                <a:lnTo>
                  <a:pt x="1045873" y="591821"/>
                </a:lnTo>
                <a:lnTo>
                  <a:pt x="1044919" y="595313"/>
                </a:lnTo>
                <a:lnTo>
                  <a:pt x="1042695" y="606108"/>
                </a:lnTo>
                <a:lnTo>
                  <a:pt x="1040152" y="620396"/>
                </a:lnTo>
                <a:lnTo>
                  <a:pt x="1037610" y="637858"/>
                </a:lnTo>
                <a:lnTo>
                  <a:pt x="1035386" y="657861"/>
                </a:lnTo>
                <a:lnTo>
                  <a:pt x="1032843" y="679768"/>
                </a:lnTo>
                <a:lnTo>
                  <a:pt x="1027441" y="726123"/>
                </a:lnTo>
                <a:lnTo>
                  <a:pt x="1022992" y="771526"/>
                </a:lnTo>
                <a:lnTo>
                  <a:pt x="1019496" y="811213"/>
                </a:lnTo>
                <a:lnTo>
                  <a:pt x="1016318" y="849313"/>
                </a:lnTo>
                <a:lnTo>
                  <a:pt x="1016000" y="805498"/>
                </a:lnTo>
                <a:lnTo>
                  <a:pt x="1016000" y="708978"/>
                </a:lnTo>
                <a:lnTo>
                  <a:pt x="1016318" y="656591"/>
                </a:lnTo>
                <a:lnTo>
                  <a:pt x="1016636" y="609918"/>
                </a:lnTo>
                <a:lnTo>
                  <a:pt x="1017271" y="590551"/>
                </a:lnTo>
                <a:lnTo>
                  <a:pt x="1017589" y="575311"/>
                </a:lnTo>
                <a:lnTo>
                  <a:pt x="1018225" y="564198"/>
                </a:lnTo>
                <a:lnTo>
                  <a:pt x="1018860" y="560706"/>
                </a:lnTo>
                <a:lnTo>
                  <a:pt x="1019178" y="558801"/>
                </a:lnTo>
                <a:lnTo>
                  <a:pt x="1019496" y="558166"/>
                </a:lnTo>
                <a:lnTo>
                  <a:pt x="1020449" y="557848"/>
                </a:lnTo>
                <a:lnTo>
                  <a:pt x="1023627" y="556896"/>
                </a:lnTo>
                <a:lnTo>
                  <a:pt x="1028394" y="555943"/>
                </a:lnTo>
                <a:lnTo>
                  <a:pt x="1035068" y="555308"/>
                </a:lnTo>
                <a:lnTo>
                  <a:pt x="1043013" y="554673"/>
                </a:lnTo>
                <a:lnTo>
                  <a:pt x="1052546" y="554356"/>
                </a:lnTo>
                <a:lnTo>
                  <a:pt x="1074474" y="554038"/>
                </a:lnTo>
                <a:close/>
                <a:moveTo>
                  <a:pt x="995680" y="516891"/>
                </a:moveTo>
                <a:lnTo>
                  <a:pt x="992187" y="517208"/>
                </a:lnTo>
                <a:lnTo>
                  <a:pt x="989330" y="518161"/>
                </a:lnTo>
                <a:lnTo>
                  <a:pt x="986790" y="519748"/>
                </a:lnTo>
                <a:lnTo>
                  <a:pt x="984567" y="521971"/>
                </a:lnTo>
                <a:lnTo>
                  <a:pt x="982662" y="524511"/>
                </a:lnTo>
                <a:lnTo>
                  <a:pt x="981075" y="527368"/>
                </a:lnTo>
                <a:lnTo>
                  <a:pt x="980440" y="530543"/>
                </a:lnTo>
                <a:lnTo>
                  <a:pt x="980122" y="534353"/>
                </a:lnTo>
                <a:lnTo>
                  <a:pt x="980122" y="1036638"/>
                </a:lnTo>
                <a:lnTo>
                  <a:pt x="980440" y="1040131"/>
                </a:lnTo>
                <a:lnTo>
                  <a:pt x="981075" y="1043306"/>
                </a:lnTo>
                <a:lnTo>
                  <a:pt x="982662" y="1046163"/>
                </a:lnTo>
                <a:lnTo>
                  <a:pt x="984567" y="1048703"/>
                </a:lnTo>
                <a:lnTo>
                  <a:pt x="986790" y="1050926"/>
                </a:lnTo>
                <a:lnTo>
                  <a:pt x="989330" y="1052196"/>
                </a:lnTo>
                <a:lnTo>
                  <a:pt x="992187" y="1053783"/>
                </a:lnTo>
                <a:lnTo>
                  <a:pt x="995680" y="1054101"/>
                </a:lnTo>
                <a:lnTo>
                  <a:pt x="1752918" y="1054101"/>
                </a:lnTo>
                <a:lnTo>
                  <a:pt x="1756093" y="1053783"/>
                </a:lnTo>
                <a:lnTo>
                  <a:pt x="1759268" y="1052196"/>
                </a:lnTo>
                <a:lnTo>
                  <a:pt x="1761808" y="1050926"/>
                </a:lnTo>
                <a:lnTo>
                  <a:pt x="1764030" y="1048703"/>
                </a:lnTo>
                <a:lnTo>
                  <a:pt x="1765935" y="1046163"/>
                </a:lnTo>
                <a:lnTo>
                  <a:pt x="1767205" y="1043306"/>
                </a:lnTo>
                <a:lnTo>
                  <a:pt x="1768158" y="1040131"/>
                </a:lnTo>
                <a:lnTo>
                  <a:pt x="1768475" y="1036638"/>
                </a:lnTo>
                <a:lnTo>
                  <a:pt x="1768475" y="534353"/>
                </a:lnTo>
                <a:lnTo>
                  <a:pt x="1768158" y="530543"/>
                </a:lnTo>
                <a:lnTo>
                  <a:pt x="1767205" y="527368"/>
                </a:lnTo>
                <a:lnTo>
                  <a:pt x="1765935" y="524511"/>
                </a:lnTo>
                <a:lnTo>
                  <a:pt x="1764030" y="521971"/>
                </a:lnTo>
                <a:lnTo>
                  <a:pt x="1761808" y="519748"/>
                </a:lnTo>
                <a:lnTo>
                  <a:pt x="1759268" y="518161"/>
                </a:lnTo>
                <a:lnTo>
                  <a:pt x="1756093" y="517208"/>
                </a:lnTo>
                <a:lnTo>
                  <a:pt x="1752918" y="516891"/>
                </a:lnTo>
                <a:lnTo>
                  <a:pt x="995680" y="516891"/>
                </a:lnTo>
                <a:close/>
                <a:moveTo>
                  <a:pt x="306823" y="515303"/>
                </a:moveTo>
                <a:lnTo>
                  <a:pt x="303015" y="528320"/>
                </a:lnTo>
                <a:lnTo>
                  <a:pt x="299842" y="541973"/>
                </a:lnTo>
                <a:lnTo>
                  <a:pt x="296670" y="555625"/>
                </a:lnTo>
                <a:lnTo>
                  <a:pt x="293814" y="569595"/>
                </a:lnTo>
                <a:lnTo>
                  <a:pt x="290958" y="583565"/>
                </a:lnTo>
                <a:lnTo>
                  <a:pt x="288420" y="597218"/>
                </a:lnTo>
                <a:lnTo>
                  <a:pt x="285882" y="611505"/>
                </a:lnTo>
                <a:lnTo>
                  <a:pt x="283660" y="625793"/>
                </a:lnTo>
                <a:lnTo>
                  <a:pt x="281757" y="640080"/>
                </a:lnTo>
                <a:lnTo>
                  <a:pt x="280170" y="654368"/>
                </a:lnTo>
                <a:lnTo>
                  <a:pt x="278584" y="668655"/>
                </a:lnTo>
                <a:lnTo>
                  <a:pt x="276997" y="683260"/>
                </a:lnTo>
                <a:lnTo>
                  <a:pt x="276045" y="698183"/>
                </a:lnTo>
                <a:lnTo>
                  <a:pt x="275094" y="713105"/>
                </a:lnTo>
                <a:lnTo>
                  <a:pt x="274142" y="728028"/>
                </a:lnTo>
                <a:lnTo>
                  <a:pt x="273824" y="742950"/>
                </a:lnTo>
                <a:lnTo>
                  <a:pt x="448336" y="742950"/>
                </a:lnTo>
                <a:lnTo>
                  <a:pt x="448970" y="718185"/>
                </a:lnTo>
                <a:lnTo>
                  <a:pt x="449922" y="693738"/>
                </a:lnTo>
                <a:lnTo>
                  <a:pt x="450874" y="669290"/>
                </a:lnTo>
                <a:lnTo>
                  <a:pt x="452461" y="645478"/>
                </a:lnTo>
                <a:lnTo>
                  <a:pt x="454047" y="621983"/>
                </a:lnTo>
                <a:lnTo>
                  <a:pt x="456268" y="598170"/>
                </a:lnTo>
                <a:lnTo>
                  <a:pt x="458489" y="574993"/>
                </a:lnTo>
                <a:lnTo>
                  <a:pt x="461345" y="552450"/>
                </a:lnTo>
                <a:lnTo>
                  <a:pt x="432154" y="546418"/>
                </a:lnTo>
                <a:lnTo>
                  <a:pt x="403597" y="540703"/>
                </a:lnTo>
                <a:lnTo>
                  <a:pt x="376310" y="534353"/>
                </a:lnTo>
                <a:lnTo>
                  <a:pt x="349023" y="527368"/>
                </a:lnTo>
                <a:lnTo>
                  <a:pt x="327764" y="521335"/>
                </a:lnTo>
                <a:lnTo>
                  <a:pt x="306823" y="515303"/>
                </a:lnTo>
                <a:close/>
                <a:moveTo>
                  <a:pt x="956945" y="477838"/>
                </a:moveTo>
                <a:lnTo>
                  <a:pt x="958532" y="477838"/>
                </a:lnTo>
                <a:lnTo>
                  <a:pt x="1789748" y="477838"/>
                </a:lnTo>
                <a:lnTo>
                  <a:pt x="1791653" y="477838"/>
                </a:lnTo>
                <a:lnTo>
                  <a:pt x="1793240" y="478156"/>
                </a:lnTo>
                <a:lnTo>
                  <a:pt x="1796415" y="479743"/>
                </a:lnTo>
                <a:lnTo>
                  <a:pt x="1799273" y="481648"/>
                </a:lnTo>
                <a:lnTo>
                  <a:pt x="1801813" y="483871"/>
                </a:lnTo>
                <a:lnTo>
                  <a:pt x="1803718" y="486728"/>
                </a:lnTo>
                <a:lnTo>
                  <a:pt x="1805305" y="490221"/>
                </a:lnTo>
                <a:lnTo>
                  <a:pt x="1806258" y="493713"/>
                </a:lnTo>
                <a:lnTo>
                  <a:pt x="1806575" y="498158"/>
                </a:lnTo>
                <a:lnTo>
                  <a:pt x="1806575" y="1074103"/>
                </a:lnTo>
                <a:lnTo>
                  <a:pt x="1806258" y="1077913"/>
                </a:lnTo>
                <a:lnTo>
                  <a:pt x="1805305" y="1081406"/>
                </a:lnTo>
                <a:lnTo>
                  <a:pt x="1803718" y="1084898"/>
                </a:lnTo>
                <a:lnTo>
                  <a:pt x="1801813" y="1088073"/>
                </a:lnTo>
                <a:lnTo>
                  <a:pt x="1799273" y="1090613"/>
                </a:lnTo>
                <a:lnTo>
                  <a:pt x="1796415" y="1092201"/>
                </a:lnTo>
                <a:lnTo>
                  <a:pt x="1793240" y="1093471"/>
                </a:lnTo>
                <a:lnTo>
                  <a:pt x="1791653" y="1093788"/>
                </a:lnTo>
                <a:lnTo>
                  <a:pt x="1789748" y="1093788"/>
                </a:lnTo>
                <a:lnTo>
                  <a:pt x="958532" y="1093788"/>
                </a:lnTo>
                <a:lnTo>
                  <a:pt x="956945" y="1093788"/>
                </a:lnTo>
                <a:lnTo>
                  <a:pt x="955040" y="1093471"/>
                </a:lnTo>
                <a:lnTo>
                  <a:pt x="951865" y="1092201"/>
                </a:lnTo>
                <a:lnTo>
                  <a:pt x="949325" y="1090613"/>
                </a:lnTo>
                <a:lnTo>
                  <a:pt x="946785" y="1088073"/>
                </a:lnTo>
                <a:lnTo>
                  <a:pt x="944562" y="1084898"/>
                </a:lnTo>
                <a:lnTo>
                  <a:pt x="942657" y="1081406"/>
                </a:lnTo>
                <a:lnTo>
                  <a:pt x="941705" y="1077913"/>
                </a:lnTo>
                <a:lnTo>
                  <a:pt x="941387" y="1074103"/>
                </a:lnTo>
                <a:lnTo>
                  <a:pt x="941387" y="498158"/>
                </a:lnTo>
                <a:lnTo>
                  <a:pt x="941705" y="493713"/>
                </a:lnTo>
                <a:lnTo>
                  <a:pt x="942657" y="490221"/>
                </a:lnTo>
                <a:lnTo>
                  <a:pt x="944562" y="486728"/>
                </a:lnTo>
                <a:lnTo>
                  <a:pt x="946785" y="483871"/>
                </a:lnTo>
                <a:lnTo>
                  <a:pt x="949325" y="481648"/>
                </a:lnTo>
                <a:lnTo>
                  <a:pt x="951865" y="479743"/>
                </a:lnTo>
                <a:lnTo>
                  <a:pt x="955040" y="478156"/>
                </a:lnTo>
                <a:lnTo>
                  <a:pt x="956945" y="477838"/>
                </a:lnTo>
                <a:close/>
                <a:moveTo>
                  <a:pt x="138975" y="443230"/>
                </a:moveTo>
                <a:lnTo>
                  <a:pt x="130408" y="460375"/>
                </a:lnTo>
                <a:lnTo>
                  <a:pt x="122475" y="477838"/>
                </a:lnTo>
                <a:lnTo>
                  <a:pt x="114860" y="495300"/>
                </a:lnTo>
                <a:lnTo>
                  <a:pt x="107245" y="513080"/>
                </a:lnTo>
                <a:lnTo>
                  <a:pt x="100899" y="531178"/>
                </a:lnTo>
                <a:lnTo>
                  <a:pt x="94236" y="549593"/>
                </a:lnTo>
                <a:lnTo>
                  <a:pt x="88525" y="568008"/>
                </a:lnTo>
                <a:lnTo>
                  <a:pt x="83448" y="586740"/>
                </a:lnTo>
                <a:lnTo>
                  <a:pt x="78372" y="605473"/>
                </a:lnTo>
                <a:lnTo>
                  <a:pt x="74247" y="624523"/>
                </a:lnTo>
                <a:lnTo>
                  <a:pt x="70439" y="643890"/>
                </a:lnTo>
                <a:lnTo>
                  <a:pt x="67266" y="663258"/>
                </a:lnTo>
                <a:lnTo>
                  <a:pt x="64411" y="682943"/>
                </a:lnTo>
                <a:lnTo>
                  <a:pt x="62507" y="702628"/>
                </a:lnTo>
                <a:lnTo>
                  <a:pt x="60286" y="722948"/>
                </a:lnTo>
                <a:lnTo>
                  <a:pt x="59334" y="742950"/>
                </a:lnTo>
                <a:lnTo>
                  <a:pt x="214808" y="742950"/>
                </a:lnTo>
                <a:lnTo>
                  <a:pt x="215125" y="726758"/>
                </a:lnTo>
                <a:lnTo>
                  <a:pt x="216077" y="710565"/>
                </a:lnTo>
                <a:lnTo>
                  <a:pt x="217029" y="694373"/>
                </a:lnTo>
                <a:lnTo>
                  <a:pt x="218615" y="678498"/>
                </a:lnTo>
                <a:lnTo>
                  <a:pt x="220202" y="662623"/>
                </a:lnTo>
                <a:lnTo>
                  <a:pt x="221788" y="647065"/>
                </a:lnTo>
                <a:lnTo>
                  <a:pt x="223692" y="631190"/>
                </a:lnTo>
                <a:lnTo>
                  <a:pt x="225913" y="615950"/>
                </a:lnTo>
                <a:lnTo>
                  <a:pt x="228134" y="600710"/>
                </a:lnTo>
                <a:lnTo>
                  <a:pt x="230672" y="585470"/>
                </a:lnTo>
                <a:lnTo>
                  <a:pt x="233528" y="570230"/>
                </a:lnTo>
                <a:lnTo>
                  <a:pt x="236701" y="554990"/>
                </a:lnTo>
                <a:lnTo>
                  <a:pt x="239874" y="540068"/>
                </a:lnTo>
                <a:lnTo>
                  <a:pt x="243364" y="525145"/>
                </a:lnTo>
                <a:lnTo>
                  <a:pt x="247172" y="510540"/>
                </a:lnTo>
                <a:lnTo>
                  <a:pt x="250979" y="496253"/>
                </a:lnTo>
                <a:lnTo>
                  <a:pt x="235749" y="490220"/>
                </a:lnTo>
                <a:lnTo>
                  <a:pt x="220519" y="484188"/>
                </a:lnTo>
                <a:lnTo>
                  <a:pt x="205924" y="477520"/>
                </a:lnTo>
                <a:lnTo>
                  <a:pt x="191645" y="471170"/>
                </a:lnTo>
                <a:lnTo>
                  <a:pt x="177684" y="464820"/>
                </a:lnTo>
                <a:lnTo>
                  <a:pt x="164358" y="457518"/>
                </a:lnTo>
                <a:lnTo>
                  <a:pt x="151666" y="450850"/>
                </a:lnTo>
                <a:lnTo>
                  <a:pt x="138975" y="443230"/>
                </a:lnTo>
                <a:close/>
                <a:moveTo>
                  <a:pt x="577792" y="294005"/>
                </a:moveTo>
                <a:lnTo>
                  <a:pt x="570177" y="317500"/>
                </a:lnTo>
                <a:lnTo>
                  <a:pt x="562562" y="341630"/>
                </a:lnTo>
                <a:lnTo>
                  <a:pt x="555581" y="366713"/>
                </a:lnTo>
                <a:lnTo>
                  <a:pt x="549235" y="392748"/>
                </a:lnTo>
                <a:lnTo>
                  <a:pt x="542889" y="419100"/>
                </a:lnTo>
                <a:lnTo>
                  <a:pt x="537495" y="446405"/>
                </a:lnTo>
                <a:lnTo>
                  <a:pt x="532101" y="474345"/>
                </a:lnTo>
                <a:lnTo>
                  <a:pt x="527342" y="503238"/>
                </a:lnTo>
                <a:lnTo>
                  <a:pt x="553043" y="506413"/>
                </a:lnTo>
                <a:lnTo>
                  <a:pt x="578743" y="509588"/>
                </a:lnTo>
                <a:lnTo>
                  <a:pt x="605396" y="512128"/>
                </a:lnTo>
                <a:lnTo>
                  <a:pt x="631731" y="514668"/>
                </a:lnTo>
                <a:lnTo>
                  <a:pt x="659019" y="516573"/>
                </a:lnTo>
                <a:lnTo>
                  <a:pt x="686623" y="517843"/>
                </a:lnTo>
                <a:lnTo>
                  <a:pt x="714228" y="519113"/>
                </a:lnTo>
                <a:lnTo>
                  <a:pt x="742467" y="519748"/>
                </a:lnTo>
                <a:lnTo>
                  <a:pt x="742467" y="303848"/>
                </a:lnTo>
                <a:lnTo>
                  <a:pt x="721208" y="303213"/>
                </a:lnTo>
                <a:lnTo>
                  <a:pt x="699950" y="302578"/>
                </a:lnTo>
                <a:lnTo>
                  <a:pt x="679326" y="301625"/>
                </a:lnTo>
                <a:lnTo>
                  <a:pt x="658701" y="300673"/>
                </a:lnTo>
                <a:lnTo>
                  <a:pt x="638077" y="299403"/>
                </a:lnTo>
                <a:lnTo>
                  <a:pt x="618088" y="297815"/>
                </a:lnTo>
                <a:lnTo>
                  <a:pt x="597464" y="295910"/>
                </a:lnTo>
                <a:lnTo>
                  <a:pt x="577792" y="294005"/>
                </a:lnTo>
                <a:close/>
                <a:moveTo>
                  <a:pt x="418510" y="269240"/>
                </a:moveTo>
                <a:lnTo>
                  <a:pt x="411530" y="279718"/>
                </a:lnTo>
                <a:lnTo>
                  <a:pt x="404549" y="290513"/>
                </a:lnTo>
                <a:lnTo>
                  <a:pt x="397886" y="300990"/>
                </a:lnTo>
                <a:lnTo>
                  <a:pt x="391223" y="312103"/>
                </a:lnTo>
                <a:lnTo>
                  <a:pt x="384560" y="323533"/>
                </a:lnTo>
                <a:lnTo>
                  <a:pt x="378531" y="334645"/>
                </a:lnTo>
                <a:lnTo>
                  <a:pt x="371868" y="346393"/>
                </a:lnTo>
                <a:lnTo>
                  <a:pt x="366157" y="358458"/>
                </a:lnTo>
                <a:lnTo>
                  <a:pt x="360446" y="370205"/>
                </a:lnTo>
                <a:lnTo>
                  <a:pt x="354417" y="382270"/>
                </a:lnTo>
                <a:lnTo>
                  <a:pt x="349023" y="394653"/>
                </a:lnTo>
                <a:lnTo>
                  <a:pt x="343946" y="407035"/>
                </a:lnTo>
                <a:lnTo>
                  <a:pt x="338870" y="419735"/>
                </a:lnTo>
                <a:lnTo>
                  <a:pt x="333476" y="432753"/>
                </a:lnTo>
                <a:lnTo>
                  <a:pt x="328716" y="445770"/>
                </a:lnTo>
                <a:lnTo>
                  <a:pt x="324274" y="458788"/>
                </a:lnTo>
                <a:lnTo>
                  <a:pt x="341091" y="463868"/>
                </a:lnTo>
                <a:lnTo>
                  <a:pt x="358224" y="468948"/>
                </a:lnTo>
                <a:lnTo>
                  <a:pt x="375993" y="473393"/>
                </a:lnTo>
                <a:lnTo>
                  <a:pt x="393761" y="477838"/>
                </a:lnTo>
                <a:lnTo>
                  <a:pt x="412164" y="482283"/>
                </a:lnTo>
                <a:lnTo>
                  <a:pt x="430885" y="486410"/>
                </a:lnTo>
                <a:lnTo>
                  <a:pt x="449922" y="490220"/>
                </a:lnTo>
                <a:lnTo>
                  <a:pt x="469277" y="493713"/>
                </a:lnTo>
                <a:lnTo>
                  <a:pt x="472133" y="474663"/>
                </a:lnTo>
                <a:lnTo>
                  <a:pt x="475623" y="455930"/>
                </a:lnTo>
                <a:lnTo>
                  <a:pt x="479113" y="437515"/>
                </a:lnTo>
                <a:lnTo>
                  <a:pt x="482921" y="419418"/>
                </a:lnTo>
                <a:lnTo>
                  <a:pt x="486728" y="401320"/>
                </a:lnTo>
                <a:lnTo>
                  <a:pt x="490536" y="383540"/>
                </a:lnTo>
                <a:lnTo>
                  <a:pt x="495295" y="366395"/>
                </a:lnTo>
                <a:lnTo>
                  <a:pt x="499420" y="349250"/>
                </a:lnTo>
                <a:lnTo>
                  <a:pt x="503862" y="333058"/>
                </a:lnTo>
                <a:lnTo>
                  <a:pt x="508304" y="317183"/>
                </a:lnTo>
                <a:lnTo>
                  <a:pt x="513381" y="301943"/>
                </a:lnTo>
                <a:lnTo>
                  <a:pt x="518140" y="286703"/>
                </a:lnTo>
                <a:lnTo>
                  <a:pt x="492440" y="282893"/>
                </a:lnTo>
                <a:lnTo>
                  <a:pt x="467691" y="278765"/>
                </a:lnTo>
                <a:lnTo>
                  <a:pt x="442942" y="274320"/>
                </a:lnTo>
                <a:lnTo>
                  <a:pt x="418510" y="269240"/>
                </a:lnTo>
                <a:close/>
                <a:moveTo>
                  <a:pt x="299208" y="238125"/>
                </a:moveTo>
                <a:lnTo>
                  <a:pt x="283026" y="252730"/>
                </a:lnTo>
                <a:lnTo>
                  <a:pt x="275411" y="260033"/>
                </a:lnTo>
                <a:lnTo>
                  <a:pt x="267479" y="267653"/>
                </a:lnTo>
                <a:lnTo>
                  <a:pt x="253835" y="281940"/>
                </a:lnTo>
                <a:lnTo>
                  <a:pt x="240191" y="296863"/>
                </a:lnTo>
                <a:lnTo>
                  <a:pt x="227182" y="311785"/>
                </a:lnTo>
                <a:lnTo>
                  <a:pt x="214490" y="327343"/>
                </a:lnTo>
                <a:lnTo>
                  <a:pt x="202433" y="343218"/>
                </a:lnTo>
                <a:lnTo>
                  <a:pt x="190376" y="359093"/>
                </a:lnTo>
                <a:lnTo>
                  <a:pt x="178954" y="375603"/>
                </a:lnTo>
                <a:lnTo>
                  <a:pt x="168483" y="392430"/>
                </a:lnTo>
                <a:lnTo>
                  <a:pt x="178002" y="398145"/>
                </a:lnTo>
                <a:lnTo>
                  <a:pt x="188472" y="403860"/>
                </a:lnTo>
                <a:lnTo>
                  <a:pt x="198943" y="409575"/>
                </a:lnTo>
                <a:lnTo>
                  <a:pt x="210048" y="414973"/>
                </a:lnTo>
                <a:lnTo>
                  <a:pt x="221471" y="420053"/>
                </a:lnTo>
                <a:lnTo>
                  <a:pt x="232894" y="425450"/>
                </a:lnTo>
                <a:lnTo>
                  <a:pt x="245268" y="430848"/>
                </a:lnTo>
                <a:lnTo>
                  <a:pt x="257642" y="435610"/>
                </a:lnTo>
                <a:lnTo>
                  <a:pt x="268430" y="439738"/>
                </a:lnTo>
                <a:lnTo>
                  <a:pt x="277315" y="414655"/>
                </a:lnTo>
                <a:lnTo>
                  <a:pt x="287151" y="390208"/>
                </a:lnTo>
                <a:lnTo>
                  <a:pt x="297304" y="366078"/>
                </a:lnTo>
                <a:lnTo>
                  <a:pt x="302381" y="354330"/>
                </a:lnTo>
                <a:lnTo>
                  <a:pt x="308409" y="342900"/>
                </a:lnTo>
                <a:lnTo>
                  <a:pt x="313803" y="331153"/>
                </a:lnTo>
                <a:lnTo>
                  <a:pt x="319515" y="319723"/>
                </a:lnTo>
                <a:lnTo>
                  <a:pt x="325543" y="308610"/>
                </a:lnTo>
                <a:lnTo>
                  <a:pt x="331572" y="297498"/>
                </a:lnTo>
                <a:lnTo>
                  <a:pt x="337600" y="286703"/>
                </a:lnTo>
                <a:lnTo>
                  <a:pt x="344264" y="275908"/>
                </a:lnTo>
                <a:lnTo>
                  <a:pt x="350609" y="265430"/>
                </a:lnTo>
                <a:lnTo>
                  <a:pt x="357590" y="254953"/>
                </a:lnTo>
                <a:lnTo>
                  <a:pt x="349023" y="253048"/>
                </a:lnTo>
                <a:lnTo>
                  <a:pt x="323957" y="245745"/>
                </a:lnTo>
                <a:lnTo>
                  <a:pt x="299208" y="238125"/>
                </a:lnTo>
                <a:close/>
                <a:moveTo>
                  <a:pt x="1081336" y="129223"/>
                </a:moveTo>
                <a:lnTo>
                  <a:pt x="1090538" y="137795"/>
                </a:lnTo>
                <a:lnTo>
                  <a:pt x="1099422" y="146368"/>
                </a:lnTo>
                <a:lnTo>
                  <a:pt x="1107989" y="155575"/>
                </a:lnTo>
                <a:lnTo>
                  <a:pt x="1116873" y="164465"/>
                </a:lnTo>
                <a:lnTo>
                  <a:pt x="1125123" y="173990"/>
                </a:lnTo>
                <a:lnTo>
                  <a:pt x="1133690" y="183833"/>
                </a:lnTo>
                <a:lnTo>
                  <a:pt x="1141622" y="193358"/>
                </a:lnTo>
                <a:lnTo>
                  <a:pt x="1149555" y="203518"/>
                </a:lnTo>
                <a:lnTo>
                  <a:pt x="1164467" y="199708"/>
                </a:lnTo>
                <a:lnTo>
                  <a:pt x="1179380" y="195898"/>
                </a:lnTo>
                <a:lnTo>
                  <a:pt x="1188899" y="193358"/>
                </a:lnTo>
                <a:lnTo>
                  <a:pt x="1175890" y="184468"/>
                </a:lnTo>
                <a:lnTo>
                  <a:pt x="1162881" y="175578"/>
                </a:lnTo>
                <a:lnTo>
                  <a:pt x="1149872" y="167323"/>
                </a:lnTo>
                <a:lnTo>
                  <a:pt x="1136863" y="159068"/>
                </a:lnTo>
                <a:lnTo>
                  <a:pt x="1123219" y="151130"/>
                </a:lnTo>
                <a:lnTo>
                  <a:pt x="1109258" y="143510"/>
                </a:lnTo>
                <a:lnTo>
                  <a:pt x="1095297" y="136208"/>
                </a:lnTo>
                <a:lnTo>
                  <a:pt x="1081336" y="129223"/>
                </a:lnTo>
                <a:close/>
                <a:moveTo>
                  <a:pt x="462297" y="129223"/>
                </a:moveTo>
                <a:lnTo>
                  <a:pt x="448336" y="136208"/>
                </a:lnTo>
                <a:lnTo>
                  <a:pt x="434375" y="143510"/>
                </a:lnTo>
                <a:lnTo>
                  <a:pt x="420731" y="151130"/>
                </a:lnTo>
                <a:lnTo>
                  <a:pt x="407088" y="159068"/>
                </a:lnTo>
                <a:lnTo>
                  <a:pt x="394079" y="167323"/>
                </a:lnTo>
                <a:lnTo>
                  <a:pt x="380752" y="175578"/>
                </a:lnTo>
                <a:lnTo>
                  <a:pt x="367743" y="184468"/>
                </a:lnTo>
                <a:lnTo>
                  <a:pt x="355052" y="193358"/>
                </a:lnTo>
                <a:lnTo>
                  <a:pt x="374406" y="198438"/>
                </a:lnTo>
                <a:lnTo>
                  <a:pt x="394079" y="203518"/>
                </a:lnTo>
                <a:lnTo>
                  <a:pt x="402011" y="193358"/>
                </a:lnTo>
                <a:lnTo>
                  <a:pt x="410261" y="183833"/>
                </a:lnTo>
                <a:lnTo>
                  <a:pt x="418510" y="173990"/>
                </a:lnTo>
                <a:lnTo>
                  <a:pt x="427077" y="164465"/>
                </a:lnTo>
                <a:lnTo>
                  <a:pt x="435644" y="155575"/>
                </a:lnTo>
                <a:lnTo>
                  <a:pt x="444528" y="146368"/>
                </a:lnTo>
                <a:lnTo>
                  <a:pt x="453095" y="137795"/>
                </a:lnTo>
                <a:lnTo>
                  <a:pt x="462297" y="129223"/>
                </a:lnTo>
                <a:close/>
                <a:moveTo>
                  <a:pt x="931891" y="96838"/>
                </a:moveTo>
                <a:lnTo>
                  <a:pt x="942045" y="110490"/>
                </a:lnTo>
                <a:lnTo>
                  <a:pt x="951881" y="125413"/>
                </a:lnTo>
                <a:lnTo>
                  <a:pt x="961717" y="140970"/>
                </a:lnTo>
                <a:lnTo>
                  <a:pt x="970918" y="157480"/>
                </a:lnTo>
                <a:lnTo>
                  <a:pt x="979803" y="174625"/>
                </a:lnTo>
                <a:lnTo>
                  <a:pt x="988369" y="192405"/>
                </a:lnTo>
                <a:lnTo>
                  <a:pt x="996936" y="210820"/>
                </a:lnTo>
                <a:lnTo>
                  <a:pt x="1004869" y="230188"/>
                </a:lnTo>
                <a:lnTo>
                  <a:pt x="1025176" y="227330"/>
                </a:lnTo>
                <a:lnTo>
                  <a:pt x="1045165" y="224155"/>
                </a:lnTo>
                <a:lnTo>
                  <a:pt x="1065472" y="220980"/>
                </a:lnTo>
                <a:lnTo>
                  <a:pt x="1084827" y="217170"/>
                </a:lnTo>
                <a:lnTo>
                  <a:pt x="1076260" y="207645"/>
                </a:lnTo>
                <a:lnTo>
                  <a:pt x="1067376" y="198120"/>
                </a:lnTo>
                <a:lnTo>
                  <a:pt x="1058491" y="188913"/>
                </a:lnTo>
                <a:lnTo>
                  <a:pt x="1049607" y="180023"/>
                </a:lnTo>
                <a:lnTo>
                  <a:pt x="1040406" y="171450"/>
                </a:lnTo>
                <a:lnTo>
                  <a:pt x="1031204" y="163195"/>
                </a:lnTo>
                <a:lnTo>
                  <a:pt x="1021685" y="155258"/>
                </a:lnTo>
                <a:lnTo>
                  <a:pt x="1011849" y="147320"/>
                </a:lnTo>
                <a:lnTo>
                  <a:pt x="1002648" y="140018"/>
                </a:lnTo>
                <a:lnTo>
                  <a:pt x="992494" y="133033"/>
                </a:lnTo>
                <a:lnTo>
                  <a:pt x="982975" y="126048"/>
                </a:lnTo>
                <a:lnTo>
                  <a:pt x="972822" y="119380"/>
                </a:lnTo>
                <a:lnTo>
                  <a:pt x="962986" y="113348"/>
                </a:lnTo>
                <a:lnTo>
                  <a:pt x="952515" y="107315"/>
                </a:lnTo>
                <a:lnTo>
                  <a:pt x="942045" y="101918"/>
                </a:lnTo>
                <a:lnTo>
                  <a:pt x="931891" y="96838"/>
                </a:lnTo>
                <a:close/>
                <a:moveTo>
                  <a:pt x="611742" y="96838"/>
                </a:moveTo>
                <a:lnTo>
                  <a:pt x="601589" y="101918"/>
                </a:lnTo>
                <a:lnTo>
                  <a:pt x="591118" y="107315"/>
                </a:lnTo>
                <a:lnTo>
                  <a:pt x="580965" y="113348"/>
                </a:lnTo>
                <a:lnTo>
                  <a:pt x="570811" y="119698"/>
                </a:lnTo>
                <a:lnTo>
                  <a:pt x="560658" y="126048"/>
                </a:lnTo>
                <a:lnTo>
                  <a:pt x="551139" y="133033"/>
                </a:lnTo>
                <a:lnTo>
                  <a:pt x="540986" y="140018"/>
                </a:lnTo>
                <a:lnTo>
                  <a:pt x="531784" y="147320"/>
                </a:lnTo>
                <a:lnTo>
                  <a:pt x="521948" y="155258"/>
                </a:lnTo>
                <a:lnTo>
                  <a:pt x="512746" y="163195"/>
                </a:lnTo>
                <a:lnTo>
                  <a:pt x="503228" y="171450"/>
                </a:lnTo>
                <a:lnTo>
                  <a:pt x="494343" y="180023"/>
                </a:lnTo>
                <a:lnTo>
                  <a:pt x="485142" y="189230"/>
                </a:lnTo>
                <a:lnTo>
                  <a:pt x="476258" y="198120"/>
                </a:lnTo>
                <a:lnTo>
                  <a:pt x="467691" y="207645"/>
                </a:lnTo>
                <a:lnTo>
                  <a:pt x="458807" y="217170"/>
                </a:lnTo>
                <a:lnTo>
                  <a:pt x="478479" y="220980"/>
                </a:lnTo>
                <a:lnTo>
                  <a:pt x="498468" y="224155"/>
                </a:lnTo>
                <a:lnTo>
                  <a:pt x="518458" y="227330"/>
                </a:lnTo>
                <a:lnTo>
                  <a:pt x="538764" y="230188"/>
                </a:lnTo>
                <a:lnTo>
                  <a:pt x="547014" y="210820"/>
                </a:lnTo>
                <a:lnTo>
                  <a:pt x="555264" y="192405"/>
                </a:lnTo>
                <a:lnTo>
                  <a:pt x="564148" y="174625"/>
                </a:lnTo>
                <a:lnTo>
                  <a:pt x="573032" y="157480"/>
                </a:lnTo>
                <a:lnTo>
                  <a:pt x="582234" y="140970"/>
                </a:lnTo>
                <a:lnTo>
                  <a:pt x="591753" y="125413"/>
                </a:lnTo>
                <a:lnTo>
                  <a:pt x="601589" y="110490"/>
                </a:lnTo>
                <a:lnTo>
                  <a:pt x="611742" y="96838"/>
                </a:lnTo>
                <a:close/>
                <a:moveTo>
                  <a:pt x="801166" y="63818"/>
                </a:moveTo>
                <a:lnTo>
                  <a:pt x="801166" y="245110"/>
                </a:lnTo>
                <a:lnTo>
                  <a:pt x="837655" y="244158"/>
                </a:lnTo>
                <a:lnTo>
                  <a:pt x="873509" y="242570"/>
                </a:lnTo>
                <a:lnTo>
                  <a:pt x="909363" y="240348"/>
                </a:lnTo>
                <a:lnTo>
                  <a:pt x="944266" y="237173"/>
                </a:lnTo>
                <a:lnTo>
                  <a:pt x="935064" y="216853"/>
                </a:lnTo>
                <a:lnTo>
                  <a:pt x="925545" y="197803"/>
                </a:lnTo>
                <a:lnTo>
                  <a:pt x="916027" y="179705"/>
                </a:lnTo>
                <a:lnTo>
                  <a:pt x="906190" y="162878"/>
                </a:lnTo>
                <a:lnTo>
                  <a:pt x="901114" y="155258"/>
                </a:lnTo>
                <a:lnTo>
                  <a:pt x="896037" y="147320"/>
                </a:lnTo>
                <a:lnTo>
                  <a:pt x="890960" y="140018"/>
                </a:lnTo>
                <a:lnTo>
                  <a:pt x="885884" y="133033"/>
                </a:lnTo>
                <a:lnTo>
                  <a:pt x="880807" y="126048"/>
                </a:lnTo>
                <a:lnTo>
                  <a:pt x="875730" y="119698"/>
                </a:lnTo>
                <a:lnTo>
                  <a:pt x="870019" y="113665"/>
                </a:lnTo>
                <a:lnTo>
                  <a:pt x="864942" y="107633"/>
                </a:lnTo>
                <a:lnTo>
                  <a:pt x="856693" y="99695"/>
                </a:lnTo>
                <a:lnTo>
                  <a:pt x="848760" y="92075"/>
                </a:lnTo>
                <a:lnTo>
                  <a:pt x="840828" y="85725"/>
                </a:lnTo>
                <a:lnTo>
                  <a:pt x="832896" y="79693"/>
                </a:lnTo>
                <a:lnTo>
                  <a:pt x="824963" y="74613"/>
                </a:lnTo>
                <a:lnTo>
                  <a:pt x="817031" y="70168"/>
                </a:lnTo>
                <a:lnTo>
                  <a:pt x="809099" y="66675"/>
                </a:lnTo>
                <a:lnTo>
                  <a:pt x="801166" y="63818"/>
                </a:lnTo>
                <a:close/>
                <a:moveTo>
                  <a:pt x="742467" y="63818"/>
                </a:moveTo>
                <a:lnTo>
                  <a:pt x="734535" y="66675"/>
                </a:lnTo>
                <a:lnTo>
                  <a:pt x="726920" y="70168"/>
                </a:lnTo>
                <a:lnTo>
                  <a:pt x="718987" y="74613"/>
                </a:lnTo>
                <a:lnTo>
                  <a:pt x="711055" y="79693"/>
                </a:lnTo>
                <a:lnTo>
                  <a:pt x="703123" y="85725"/>
                </a:lnTo>
                <a:lnTo>
                  <a:pt x="694873" y="92075"/>
                </a:lnTo>
                <a:lnTo>
                  <a:pt x="686941" y="99695"/>
                </a:lnTo>
                <a:lnTo>
                  <a:pt x="678691" y="107633"/>
                </a:lnTo>
                <a:lnTo>
                  <a:pt x="673614" y="113665"/>
                </a:lnTo>
                <a:lnTo>
                  <a:pt x="668538" y="119698"/>
                </a:lnTo>
                <a:lnTo>
                  <a:pt x="662826" y="126048"/>
                </a:lnTo>
                <a:lnTo>
                  <a:pt x="657750" y="133033"/>
                </a:lnTo>
                <a:lnTo>
                  <a:pt x="652990" y="140018"/>
                </a:lnTo>
                <a:lnTo>
                  <a:pt x="647596" y="147320"/>
                </a:lnTo>
                <a:lnTo>
                  <a:pt x="642519" y="154940"/>
                </a:lnTo>
                <a:lnTo>
                  <a:pt x="637760" y="162878"/>
                </a:lnTo>
                <a:lnTo>
                  <a:pt x="632683" y="171450"/>
                </a:lnTo>
                <a:lnTo>
                  <a:pt x="627607" y="179705"/>
                </a:lnTo>
                <a:lnTo>
                  <a:pt x="618088" y="197803"/>
                </a:lnTo>
                <a:lnTo>
                  <a:pt x="608569" y="216853"/>
                </a:lnTo>
                <a:lnTo>
                  <a:pt x="599685" y="237173"/>
                </a:lnTo>
                <a:lnTo>
                  <a:pt x="634587" y="240030"/>
                </a:lnTo>
                <a:lnTo>
                  <a:pt x="670124" y="242570"/>
                </a:lnTo>
                <a:lnTo>
                  <a:pt x="705978" y="244158"/>
                </a:lnTo>
                <a:lnTo>
                  <a:pt x="742467" y="245110"/>
                </a:lnTo>
                <a:lnTo>
                  <a:pt x="742467" y="63818"/>
                </a:lnTo>
                <a:close/>
                <a:moveTo>
                  <a:pt x="754841" y="0"/>
                </a:moveTo>
                <a:lnTo>
                  <a:pt x="771975" y="0"/>
                </a:lnTo>
                <a:lnTo>
                  <a:pt x="789109" y="0"/>
                </a:lnTo>
                <a:lnTo>
                  <a:pt x="806243" y="635"/>
                </a:lnTo>
                <a:lnTo>
                  <a:pt x="823377" y="1588"/>
                </a:lnTo>
                <a:lnTo>
                  <a:pt x="840193" y="2858"/>
                </a:lnTo>
                <a:lnTo>
                  <a:pt x="856693" y="4445"/>
                </a:lnTo>
                <a:lnTo>
                  <a:pt x="873509" y="6350"/>
                </a:lnTo>
                <a:lnTo>
                  <a:pt x="890008" y="9208"/>
                </a:lnTo>
                <a:lnTo>
                  <a:pt x="906508" y="11748"/>
                </a:lnTo>
                <a:lnTo>
                  <a:pt x="923007" y="14923"/>
                </a:lnTo>
                <a:lnTo>
                  <a:pt x="939189" y="18098"/>
                </a:lnTo>
                <a:lnTo>
                  <a:pt x="955371" y="21908"/>
                </a:lnTo>
                <a:lnTo>
                  <a:pt x="971236" y="25718"/>
                </a:lnTo>
                <a:lnTo>
                  <a:pt x="987100" y="30480"/>
                </a:lnTo>
                <a:lnTo>
                  <a:pt x="1002965" y="35243"/>
                </a:lnTo>
                <a:lnTo>
                  <a:pt x="1018512" y="40005"/>
                </a:lnTo>
                <a:lnTo>
                  <a:pt x="1034060" y="45720"/>
                </a:lnTo>
                <a:lnTo>
                  <a:pt x="1049290" y="51435"/>
                </a:lnTo>
                <a:lnTo>
                  <a:pt x="1064520" y="57150"/>
                </a:lnTo>
                <a:lnTo>
                  <a:pt x="1079115" y="63818"/>
                </a:lnTo>
                <a:lnTo>
                  <a:pt x="1094028" y="70168"/>
                </a:lnTo>
                <a:lnTo>
                  <a:pt x="1108624" y="76835"/>
                </a:lnTo>
                <a:lnTo>
                  <a:pt x="1123219" y="84455"/>
                </a:lnTo>
                <a:lnTo>
                  <a:pt x="1137497" y="91758"/>
                </a:lnTo>
                <a:lnTo>
                  <a:pt x="1151458" y="99695"/>
                </a:lnTo>
                <a:lnTo>
                  <a:pt x="1165419" y="107633"/>
                </a:lnTo>
                <a:lnTo>
                  <a:pt x="1179063" y="116205"/>
                </a:lnTo>
                <a:lnTo>
                  <a:pt x="1192707" y="124778"/>
                </a:lnTo>
                <a:lnTo>
                  <a:pt x="1206033" y="133668"/>
                </a:lnTo>
                <a:lnTo>
                  <a:pt x="1219042" y="142558"/>
                </a:lnTo>
                <a:lnTo>
                  <a:pt x="1232051" y="152400"/>
                </a:lnTo>
                <a:lnTo>
                  <a:pt x="1244743" y="161925"/>
                </a:lnTo>
                <a:lnTo>
                  <a:pt x="1257434" y="171768"/>
                </a:lnTo>
                <a:lnTo>
                  <a:pt x="1270126" y="182245"/>
                </a:lnTo>
                <a:lnTo>
                  <a:pt x="1282818" y="193358"/>
                </a:lnTo>
                <a:lnTo>
                  <a:pt x="1295192" y="204470"/>
                </a:lnTo>
                <a:lnTo>
                  <a:pt x="1307567" y="215900"/>
                </a:lnTo>
                <a:lnTo>
                  <a:pt x="1323749" y="232093"/>
                </a:lnTo>
                <a:lnTo>
                  <a:pt x="1339296" y="248920"/>
                </a:lnTo>
                <a:lnTo>
                  <a:pt x="1354844" y="266065"/>
                </a:lnTo>
                <a:lnTo>
                  <a:pt x="1369756" y="283528"/>
                </a:lnTo>
                <a:lnTo>
                  <a:pt x="1384035" y="301625"/>
                </a:lnTo>
                <a:lnTo>
                  <a:pt x="1397995" y="320358"/>
                </a:lnTo>
                <a:lnTo>
                  <a:pt x="1411322" y="339090"/>
                </a:lnTo>
                <a:lnTo>
                  <a:pt x="1423696" y="358775"/>
                </a:lnTo>
                <a:lnTo>
                  <a:pt x="1431629" y="371158"/>
                </a:lnTo>
                <a:lnTo>
                  <a:pt x="1439244" y="383858"/>
                </a:lnTo>
                <a:lnTo>
                  <a:pt x="1446859" y="396875"/>
                </a:lnTo>
                <a:lnTo>
                  <a:pt x="1453839" y="410210"/>
                </a:lnTo>
                <a:lnTo>
                  <a:pt x="1463675" y="429260"/>
                </a:lnTo>
                <a:lnTo>
                  <a:pt x="1301855" y="429260"/>
                </a:lnTo>
                <a:lnTo>
                  <a:pt x="1321528" y="420370"/>
                </a:lnTo>
                <a:lnTo>
                  <a:pt x="1340565" y="411480"/>
                </a:lnTo>
                <a:lnTo>
                  <a:pt x="1358651" y="401955"/>
                </a:lnTo>
                <a:lnTo>
                  <a:pt x="1375785" y="392430"/>
                </a:lnTo>
                <a:lnTo>
                  <a:pt x="1364680" y="375603"/>
                </a:lnTo>
                <a:lnTo>
                  <a:pt x="1353257" y="359093"/>
                </a:lnTo>
                <a:lnTo>
                  <a:pt x="1341517" y="343218"/>
                </a:lnTo>
                <a:lnTo>
                  <a:pt x="1329143" y="327343"/>
                </a:lnTo>
                <a:lnTo>
                  <a:pt x="1316451" y="311785"/>
                </a:lnTo>
                <a:lnTo>
                  <a:pt x="1303442" y="296863"/>
                </a:lnTo>
                <a:lnTo>
                  <a:pt x="1290116" y="281940"/>
                </a:lnTo>
                <a:lnTo>
                  <a:pt x="1276155" y="267653"/>
                </a:lnTo>
                <a:lnTo>
                  <a:pt x="1268222" y="260033"/>
                </a:lnTo>
                <a:lnTo>
                  <a:pt x="1260607" y="252730"/>
                </a:lnTo>
                <a:lnTo>
                  <a:pt x="1244425" y="238125"/>
                </a:lnTo>
                <a:lnTo>
                  <a:pt x="1215869" y="246698"/>
                </a:lnTo>
                <a:lnTo>
                  <a:pt x="1200956" y="250825"/>
                </a:lnTo>
                <a:lnTo>
                  <a:pt x="1186361" y="254953"/>
                </a:lnTo>
                <a:lnTo>
                  <a:pt x="1198735" y="274955"/>
                </a:lnTo>
                <a:lnTo>
                  <a:pt x="1210792" y="295275"/>
                </a:lnTo>
                <a:lnTo>
                  <a:pt x="1222215" y="316230"/>
                </a:lnTo>
                <a:lnTo>
                  <a:pt x="1233003" y="337820"/>
                </a:lnTo>
                <a:lnTo>
                  <a:pt x="1243473" y="360045"/>
                </a:lnTo>
                <a:lnTo>
                  <a:pt x="1253310" y="382588"/>
                </a:lnTo>
                <a:lnTo>
                  <a:pt x="1262828" y="405448"/>
                </a:lnTo>
                <a:lnTo>
                  <a:pt x="1271395" y="429260"/>
                </a:lnTo>
                <a:lnTo>
                  <a:pt x="1208888" y="429260"/>
                </a:lnTo>
                <a:lnTo>
                  <a:pt x="1200004" y="407353"/>
                </a:lnTo>
                <a:lnTo>
                  <a:pt x="1190803" y="385763"/>
                </a:lnTo>
                <a:lnTo>
                  <a:pt x="1180967" y="365125"/>
                </a:lnTo>
                <a:lnTo>
                  <a:pt x="1170813" y="344805"/>
                </a:lnTo>
                <a:lnTo>
                  <a:pt x="1160025" y="325120"/>
                </a:lnTo>
                <a:lnTo>
                  <a:pt x="1148603" y="306070"/>
                </a:lnTo>
                <a:lnTo>
                  <a:pt x="1137180" y="287020"/>
                </a:lnTo>
                <a:lnTo>
                  <a:pt x="1125123" y="269240"/>
                </a:lnTo>
                <a:lnTo>
                  <a:pt x="1101009" y="274320"/>
                </a:lnTo>
                <a:lnTo>
                  <a:pt x="1076260" y="278765"/>
                </a:lnTo>
                <a:lnTo>
                  <a:pt x="1051194" y="282893"/>
                </a:lnTo>
                <a:lnTo>
                  <a:pt x="1025493" y="286703"/>
                </a:lnTo>
                <a:lnTo>
                  <a:pt x="1031204" y="303213"/>
                </a:lnTo>
                <a:lnTo>
                  <a:pt x="1036281" y="320040"/>
                </a:lnTo>
                <a:lnTo>
                  <a:pt x="1041040" y="337503"/>
                </a:lnTo>
                <a:lnTo>
                  <a:pt x="1045800" y="355283"/>
                </a:lnTo>
                <a:lnTo>
                  <a:pt x="1050559" y="373063"/>
                </a:lnTo>
                <a:lnTo>
                  <a:pt x="1054684" y="391478"/>
                </a:lnTo>
                <a:lnTo>
                  <a:pt x="1058809" y="410528"/>
                </a:lnTo>
                <a:lnTo>
                  <a:pt x="1062616" y="429260"/>
                </a:lnTo>
                <a:lnTo>
                  <a:pt x="1002965" y="429260"/>
                </a:lnTo>
                <a:lnTo>
                  <a:pt x="999475" y="412750"/>
                </a:lnTo>
                <a:lnTo>
                  <a:pt x="995667" y="396240"/>
                </a:lnTo>
                <a:lnTo>
                  <a:pt x="991542" y="380365"/>
                </a:lnTo>
                <a:lnTo>
                  <a:pt x="987418" y="364490"/>
                </a:lnTo>
                <a:lnTo>
                  <a:pt x="982658" y="346075"/>
                </a:lnTo>
                <a:lnTo>
                  <a:pt x="976947" y="328295"/>
                </a:lnTo>
                <a:lnTo>
                  <a:pt x="971553" y="311150"/>
                </a:lnTo>
                <a:lnTo>
                  <a:pt x="966159" y="294005"/>
                </a:lnTo>
                <a:lnTo>
                  <a:pt x="946169" y="295910"/>
                </a:lnTo>
                <a:lnTo>
                  <a:pt x="926180" y="297815"/>
                </a:lnTo>
                <a:lnTo>
                  <a:pt x="905556" y="299403"/>
                </a:lnTo>
                <a:lnTo>
                  <a:pt x="884932" y="300673"/>
                </a:lnTo>
                <a:lnTo>
                  <a:pt x="864308" y="301625"/>
                </a:lnTo>
                <a:lnTo>
                  <a:pt x="843684" y="302578"/>
                </a:lnTo>
                <a:lnTo>
                  <a:pt x="822742" y="303213"/>
                </a:lnTo>
                <a:lnTo>
                  <a:pt x="801166" y="303848"/>
                </a:lnTo>
                <a:lnTo>
                  <a:pt x="801166" y="519748"/>
                </a:lnTo>
                <a:lnTo>
                  <a:pt x="822108" y="519113"/>
                </a:lnTo>
                <a:lnTo>
                  <a:pt x="843366" y="518478"/>
                </a:lnTo>
                <a:lnTo>
                  <a:pt x="864308" y="517525"/>
                </a:lnTo>
                <a:lnTo>
                  <a:pt x="884614" y="516573"/>
                </a:lnTo>
                <a:lnTo>
                  <a:pt x="884614" y="575310"/>
                </a:lnTo>
                <a:lnTo>
                  <a:pt x="864308" y="576263"/>
                </a:lnTo>
                <a:lnTo>
                  <a:pt x="843366" y="577215"/>
                </a:lnTo>
                <a:lnTo>
                  <a:pt x="822108" y="577850"/>
                </a:lnTo>
                <a:lnTo>
                  <a:pt x="801166" y="578168"/>
                </a:lnTo>
                <a:lnTo>
                  <a:pt x="801166" y="742950"/>
                </a:lnTo>
                <a:lnTo>
                  <a:pt x="884614" y="742950"/>
                </a:lnTo>
                <a:lnTo>
                  <a:pt x="884614" y="801688"/>
                </a:lnTo>
                <a:lnTo>
                  <a:pt x="801166" y="801688"/>
                </a:lnTo>
                <a:lnTo>
                  <a:pt x="801166" y="965835"/>
                </a:lnTo>
                <a:lnTo>
                  <a:pt x="822108" y="966470"/>
                </a:lnTo>
                <a:lnTo>
                  <a:pt x="843366" y="967105"/>
                </a:lnTo>
                <a:lnTo>
                  <a:pt x="864308" y="968058"/>
                </a:lnTo>
                <a:lnTo>
                  <a:pt x="884614" y="969010"/>
                </a:lnTo>
                <a:lnTo>
                  <a:pt x="884614" y="1028065"/>
                </a:lnTo>
                <a:lnTo>
                  <a:pt x="864308" y="1026795"/>
                </a:lnTo>
                <a:lnTo>
                  <a:pt x="843366" y="1025843"/>
                </a:lnTo>
                <a:lnTo>
                  <a:pt x="822108" y="1025208"/>
                </a:lnTo>
                <a:lnTo>
                  <a:pt x="801166" y="1024890"/>
                </a:lnTo>
                <a:lnTo>
                  <a:pt x="801166" y="1240473"/>
                </a:lnTo>
                <a:lnTo>
                  <a:pt x="824963" y="1240790"/>
                </a:lnTo>
                <a:lnTo>
                  <a:pt x="848126" y="1241743"/>
                </a:lnTo>
                <a:lnTo>
                  <a:pt x="832896" y="1300163"/>
                </a:lnTo>
                <a:lnTo>
                  <a:pt x="801166" y="1299528"/>
                </a:lnTo>
                <a:lnTo>
                  <a:pt x="801166" y="1423353"/>
                </a:lnTo>
                <a:lnTo>
                  <a:pt x="771658" y="1538606"/>
                </a:lnTo>
                <a:lnTo>
                  <a:pt x="771023" y="1541781"/>
                </a:lnTo>
                <a:lnTo>
                  <a:pt x="771023" y="1544638"/>
                </a:lnTo>
                <a:lnTo>
                  <a:pt x="753890" y="1544321"/>
                </a:lnTo>
                <a:lnTo>
                  <a:pt x="736756" y="1543686"/>
                </a:lnTo>
                <a:lnTo>
                  <a:pt x="719622" y="1542733"/>
                </a:lnTo>
                <a:lnTo>
                  <a:pt x="702805" y="1541463"/>
                </a:lnTo>
                <a:lnTo>
                  <a:pt x="685989" y="1539558"/>
                </a:lnTo>
                <a:lnTo>
                  <a:pt x="669489" y="1537653"/>
                </a:lnTo>
                <a:lnTo>
                  <a:pt x="652673" y="1535431"/>
                </a:lnTo>
                <a:lnTo>
                  <a:pt x="636491" y="1532573"/>
                </a:lnTo>
                <a:lnTo>
                  <a:pt x="619992" y="1529716"/>
                </a:lnTo>
                <a:lnTo>
                  <a:pt x="603810" y="1526223"/>
                </a:lnTo>
                <a:lnTo>
                  <a:pt x="587628" y="1522096"/>
                </a:lnTo>
                <a:lnTo>
                  <a:pt x="571763" y="1518286"/>
                </a:lnTo>
                <a:lnTo>
                  <a:pt x="555898" y="1513841"/>
                </a:lnTo>
                <a:lnTo>
                  <a:pt x="540351" y="1509078"/>
                </a:lnTo>
                <a:lnTo>
                  <a:pt x="524486" y="1503998"/>
                </a:lnTo>
                <a:lnTo>
                  <a:pt x="509256" y="1498601"/>
                </a:lnTo>
                <a:lnTo>
                  <a:pt x="494343" y="1492886"/>
                </a:lnTo>
                <a:lnTo>
                  <a:pt x="479113" y="1486853"/>
                </a:lnTo>
                <a:lnTo>
                  <a:pt x="464200" y="1480503"/>
                </a:lnTo>
                <a:lnTo>
                  <a:pt x="449288" y="1474153"/>
                </a:lnTo>
                <a:lnTo>
                  <a:pt x="434692" y="1467168"/>
                </a:lnTo>
                <a:lnTo>
                  <a:pt x="420414" y="1459866"/>
                </a:lnTo>
                <a:lnTo>
                  <a:pt x="406136" y="1452246"/>
                </a:lnTo>
                <a:lnTo>
                  <a:pt x="392175" y="1444626"/>
                </a:lnTo>
                <a:lnTo>
                  <a:pt x="378214" y="1436688"/>
                </a:lnTo>
                <a:lnTo>
                  <a:pt x="364570" y="1428116"/>
                </a:lnTo>
                <a:lnTo>
                  <a:pt x="350927" y="1419861"/>
                </a:lnTo>
                <a:lnTo>
                  <a:pt x="337600" y="1410653"/>
                </a:lnTo>
                <a:lnTo>
                  <a:pt x="324591" y="1401763"/>
                </a:lnTo>
                <a:lnTo>
                  <a:pt x="311582" y="1392238"/>
                </a:lnTo>
                <a:lnTo>
                  <a:pt x="298891" y="1382396"/>
                </a:lnTo>
                <a:lnTo>
                  <a:pt x="286199" y="1372553"/>
                </a:lnTo>
                <a:lnTo>
                  <a:pt x="273507" y="1361758"/>
                </a:lnTo>
                <a:lnTo>
                  <a:pt x="260815" y="1351280"/>
                </a:lnTo>
                <a:lnTo>
                  <a:pt x="248441" y="1339850"/>
                </a:lnTo>
                <a:lnTo>
                  <a:pt x="236701" y="1328420"/>
                </a:lnTo>
                <a:lnTo>
                  <a:pt x="220202" y="1311910"/>
                </a:lnTo>
                <a:lnTo>
                  <a:pt x="204337" y="1295400"/>
                </a:lnTo>
                <a:lnTo>
                  <a:pt x="188790" y="1278255"/>
                </a:lnTo>
                <a:lnTo>
                  <a:pt x="173877" y="1260475"/>
                </a:lnTo>
                <a:lnTo>
                  <a:pt x="159599" y="1242378"/>
                </a:lnTo>
                <a:lnTo>
                  <a:pt x="145638" y="1223963"/>
                </a:lnTo>
                <a:lnTo>
                  <a:pt x="132629" y="1204913"/>
                </a:lnTo>
                <a:lnTo>
                  <a:pt x="119937" y="1185863"/>
                </a:lnTo>
                <a:lnTo>
                  <a:pt x="112005" y="1173163"/>
                </a:lnTo>
                <a:lnTo>
                  <a:pt x="104390" y="1160463"/>
                </a:lnTo>
                <a:lnTo>
                  <a:pt x="97409" y="1147445"/>
                </a:lnTo>
                <a:lnTo>
                  <a:pt x="90111" y="1134428"/>
                </a:lnTo>
                <a:lnTo>
                  <a:pt x="79641" y="1114108"/>
                </a:lnTo>
                <a:lnTo>
                  <a:pt x="69805" y="1093153"/>
                </a:lnTo>
                <a:lnTo>
                  <a:pt x="60286" y="1072198"/>
                </a:lnTo>
                <a:lnTo>
                  <a:pt x="51719" y="1050608"/>
                </a:lnTo>
                <a:lnTo>
                  <a:pt x="43469" y="1029018"/>
                </a:lnTo>
                <a:lnTo>
                  <a:pt x="36172" y="1006793"/>
                </a:lnTo>
                <a:lnTo>
                  <a:pt x="29826" y="984568"/>
                </a:lnTo>
                <a:lnTo>
                  <a:pt x="23480" y="961708"/>
                </a:lnTo>
                <a:lnTo>
                  <a:pt x="18086" y="939165"/>
                </a:lnTo>
                <a:lnTo>
                  <a:pt x="13326" y="915988"/>
                </a:lnTo>
                <a:lnTo>
                  <a:pt x="9202" y="892493"/>
                </a:lnTo>
                <a:lnTo>
                  <a:pt x="6029" y="868998"/>
                </a:lnTo>
                <a:lnTo>
                  <a:pt x="3490" y="845185"/>
                </a:lnTo>
                <a:lnTo>
                  <a:pt x="1587" y="820738"/>
                </a:lnTo>
                <a:lnTo>
                  <a:pt x="317" y="796608"/>
                </a:lnTo>
                <a:lnTo>
                  <a:pt x="0" y="772160"/>
                </a:lnTo>
                <a:lnTo>
                  <a:pt x="317" y="747713"/>
                </a:lnTo>
                <a:lnTo>
                  <a:pt x="1587" y="723583"/>
                </a:lnTo>
                <a:lnTo>
                  <a:pt x="3490" y="699453"/>
                </a:lnTo>
                <a:lnTo>
                  <a:pt x="6029" y="675640"/>
                </a:lnTo>
                <a:lnTo>
                  <a:pt x="9202" y="651828"/>
                </a:lnTo>
                <a:lnTo>
                  <a:pt x="13326" y="628650"/>
                </a:lnTo>
                <a:lnTo>
                  <a:pt x="18086" y="605473"/>
                </a:lnTo>
                <a:lnTo>
                  <a:pt x="23480" y="582295"/>
                </a:lnTo>
                <a:lnTo>
                  <a:pt x="29826" y="559753"/>
                </a:lnTo>
                <a:lnTo>
                  <a:pt x="36172" y="537528"/>
                </a:lnTo>
                <a:lnTo>
                  <a:pt x="43469" y="515620"/>
                </a:lnTo>
                <a:lnTo>
                  <a:pt x="51719" y="493713"/>
                </a:lnTo>
                <a:lnTo>
                  <a:pt x="60286" y="472440"/>
                </a:lnTo>
                <a:lnTo>
                  <a:pt x="69805" y="451168"/>
                </a:lnTo>
                <a:lnTo>
                  <a:pt x="79641" y="430530"/>
                </a:lnTo>
                <a:lnTo>
                  <a:pt x="90111" y="410210"/>
                </a:lnTo>
                <a:lnTo>
                  <a:pt x="97409" y="396875"/>
                </a:lnTo>
                <a:lnTo>
                  <a:pt x="104390" y="383858"/>
                </a:lnTo>
                <a:lnTo>
                  <a:pt x="112005" y="371158"/>
                </a:lnTo>
                <a:lnTo>
                  <a:pt x="119937" y="358775"/>
                </a:lnTo>
                <a:lnTo>
                  <a:pt x="132629" y="339090"/>
                </a:lnTo>
                <a:lnTo>
                  <a:pt x="145638" y="320040"/>
                </a:lnTo>
                <a:lnTo>
                  <a:pt x="159599" y="301625"/>
                </a:lnTo>
                <a:lnTo>
                  <a:pt x="173877" y="283528"/>
                </a:lnTo>
                <a:lnTo>
                  <a:pt x="188790" y="266065"/>
                </a:lnTo>
                <a:lnTo>
                  <a:pt x="204337" y="248920"/>
                </a:lnTo>
                <a:lnTo>
                  <a:pt x="220202" y="232093"/>
                </a:lnTo>
                <a:lnTo>
                  <a:pt x="236701" y="215900"/>
                </a:lnTo>
                <a:lnTo>
                  <a:pt x="248441" y="204470"/>
                </a:lnTo>
                <a:lnTo>
                  <a:pt x="260815" y="193358"/>
                </a:lnTo>
                <a:lnTo>
                  <a:pt x="273507" y="182245"/>
                </a:lnTo>
                <a:lnTo>
                  <a:pt x="286199" y="171768"/>
                </a:lnTo>
                <a:lnTo>
                  <a:pt x="298891" y="161925"/>
                </a:lnTo>
                <a:lnTo>
                  <a:pt x="311582" y="152400"/>
                </a:lnTo>
                <a:lnTo>
                  <a:pt x="324591" y="142558"/>
                </a:lnTo>
                <a:lnTo>
                  <a:pt x="337600" y="133668"/>
                </a:lnTo>
                <a:lnTo>
                  <a:pt x="350927" y="124460"/>
                </a:lnTo>
                <a:lnTo>
                  <a:pt x="364570" y="116205"/>
                </a:lnTo>
                <a:lnTo>
                  <a:pt x="378531" y="107633"/>
                </a:lnTo>
                <a:lnTo>
                  <a:pt x="392492" y="99695"/>
                </a:lnTo>
                <a:lnTo>
                  <a:pt x="406136" y="91758"/>
                </a:lnTo>
                <a:lnTo>
                  <a:pt x="420731" y="84455"/>
                </a:lnTo>
                <a:lnTo>
                  <a:pt x="435009" y="76835"/>
                </a:lnTo>
                <a:lnTo>
                  <a:pt x="449922" y="70168"/>
                </a:lnTo>
                <a:lnTo>
                  <a:pt x="464518" y="63818"/>
                </a:lnTo>
                <a:lnTo>
                  <a:pt x="479748" y="57150"/>
                </a:lnTo>
                <a:lnTo>
                  <a:pt x="494661" y="51118"/>
                </a:lnTo>
                <a:lnTo>
                  <a:pt x="509573" y="45720"/>
                </a:lnTo>
                <a:lnTo>
                  <a:pt x="525121" y="40005"/>
                </a:lnTo>
                <a:lnTo>
                  <a:pt x="540668" y="35243"/>
                </a:lnTo>
                <a:lnTo>
                  <a:pt x="556533" y="30480"/>
                </a:lnTo>
                <a:lnTo>
                  <a:pt x="572398" y="25718"/>
                </a:lnTo>
                <a:lnTo>
                  <a:pt x="588262" y="21908"/>
                </a:lnTo>
                <a:lnTo>
                  <a:pt x="604444" y="18098"/>
                </a:lnTo>
                <a:lnTo>
                  <a:pt x="620626" y="14605"/>
                </a:lnTo>
                <a:lnTo>
                  <a:pt x="637125" y="11748"/>
                </a:lnTo>
                <a:lnTo>
                  <a:pt x="653625" y="9208"/>
                </a:lnTo>
                <a:lnTo>
                  <a:pt x="670124" y="6350"/>
                </a:lnTo>
                <a:lnTo>
                  <a:pt x="686941" y="4445"/>
                </a:lnTo>
                <a:lnTo>
                  <a:pt x="703757" y="2858"/>
                </a:lnTo>
                <a:lnTo>
                  <a:pt x="720574" y="1588"/>
                </a:lnTo>
                <a:lnTo>
                  <a:pt x="737708" y="635"/>
                </a:lnTo>
                <a:lnTo>
                  <a:pt x="754841" y="0"/>
                </a:lnTo>
                <a:close/>
              </a:path>
            </a:pathLst>
          </a:custGeom>
          <a:solidFill>
            <a:schemeClr val="tx1">
              <a:lumMod val="75000"/>
              <a:lumOff val="25000"/>
            </a:schemeClr>
          </a:solidFill>
          <a:ln>
            <a:noFill/>
          </a:ln>
          <a:extLst/>
        </p:spPr>
        <p:txBody>
          <a:bodyPr lIns="91438" tIns="45719" rIns="91438" bIns="45719"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defTabSz="967686">
              <a:lnSpc>
                <a:spcPct val="130000"/>
              </a:lnSpc>
              <a:defRPr/>
            </a:pPr>
            <a:endParaRPr lang="zh-CN" altLang="en-US" sz="2900" b="1" dirty="0">
              <a:solidFill>
                <a:srgbClr val="FFFFFF"/>
              </a:solidFill>
            </a:endParaRPr>
          </a:p>
        </p:txBody>
      </p:sp>
      <p:sp>
        <p:nvSpPr>
          <p:cNvPr id="61452" name="文本框 14"/>
          <p:cNvSpPr txBox="1">
            <a:spLocks noChangeArrowheads="1"/>
          </p:cNvSpPr>
          <p:nvPr/>
        </p:nvSpPr>
        <p:spPr bwMode="auto">
          <a:xfrm>
            <a:off x="6511925" y="2035175"/>
            <a:ext cx="2462213" cy="473075"/>
          </a:xfrm>
          <a:prstGeom prst="rect">
            <a:avLst/>
          </a:prstGeom>
          <a:noFill/>
          <a:ln w="9525">
            <a:noFill/>
            <a:miter lim="800000"/>
            <a:headEnd/>
            <a:tailEnd/>
          </a:ln>
        </p:spPr>
        <p:txBody>
          <a:bodyPr lIns="91438" tIns="45719" rIns="91438" bIns="45719">
            <a:spAutoFit/>
          </a:bodyPr>
          <a:lstStyle/>
          <a:p>
            <a:pPr marL="188913" indent="-188913" defTabSz="966788">
              <a:lnSpc>
                <a:spcPct val="130000"/>
              </a:lnSpc>
              <a:buFont typeface="Arial" charset="0"/>
              <a:buChar char="•"/>
            </a:pPr>
            <a:r>
              <a:rPr lang="zh-CN" altLang="en-US" sz="1900">
                <a:solidFill>
                  <a:srgbClr val="262626"/>
                </a:solidFill>
                <a:latin typeface="微软雅黑" pitchFamily="34" charset="-122"/>
                <a:ea typeface="微软雅黑" pitchFamily="34" charset="-122"/>
              </a:rPr>
              <a:t>互联网流量广告</a:t>
            </a:r>
          </a:p>
        </p:txBody>
      </p:sp>
      <p:grpSp>
        <p:nvGrpSpPr>
          <p:cNvPr id="61453" name="组合 16"/>
          <p:cNvGrpSpPr>
            <a:grpSpLocks/>
          </p:cNvGrpSpPr>
          <p:nvPr/>
        </p:nvGrpSpPr>
        <p:grpSpPr bwMode="auto">
          <a:xfrm>
            <a:off x="7175500" y="2697163"/>
            <a:ext cx="3278188" cy="1547812"/>
            <a:chOff x="6674882" y="2548434"/>
            <a:chExt cx="3098767" cy="1463173"/>
          </a:xfrm>
        </p:grpSpPr>
        <p:sp>
          <p:nvSpPr>
            <p:cNvPr id="4" name="文本框 3"/>
            <p:cNvSpPr txBox="1"/>
            <p:nvPr/>
          </p:nvSpPr>
          <p:spPr>
            <a:xfrm>
              <a:off x="6674882" y="3565902"/>
              <a:ext cx="3098767" cy="445705"/>
            </a:xfrm>
            <a:prstGeom prst="rect">
              <a:avLst/>
            </a:prstGeom>
            <a:solidFill>
              <a:schemeClr val="tx1">
                <a:lumMod val="75000"/>
                <a:lumOff val="25000"/>
              </a:schemeClr>
            </a:solidFill>
          </p:spPr>
          <p:txBody>
            <a:bodyPr>
              <a:spAutoFit/>
            </a:bodyPr>
            <a:lstStyle/>
            <a:p>
              <a:pPr algn="ctr" defTabSz="967686">
                <a:lnSpc>
                  <a:spcPct val="130000"/>
                </a:lnSpc>
                <a:defRPr/>
              </a:pPr>
              <a:r>
                <a:rPr lang="zh-CN" altLang="en-US" sz="1900" b="1" dirty="0">
                  <a:solidFill>
                    <a:prstClr val="white"/>
                  </a:solidFill>
                  <a:latin typeface="微软雅黑" panose="020B0503020204020204" pitchFamily="34" charset="-122"/>
                  <a:ea typeface="微软雅黑" panose="020B0503020204020204" pitchFamily="34" charset="-122"/>
                </a:rPr>
                <a:t>白领外卖市场</a:t>
              </a:r>
            </a:p>
          </p:txBody>
        </p:sp>
        <p:pic>
          <p:nvPicPr>
            <p:cNvPr id="61455" name="图片 15"/>
            <p:cNvPicPr>
              <a:picLocks noChangeAspect="1"/>
            </p:cNvPicPr>
            <p:nvPr/>
          </p:nvPicPr>
          <p:blipFill>
            <a:blip r:embed="rId8">
              <a:clrChange>
                <a:clrFrom>
                  <a:srgbClr val="F7F7F7"/>
                </a:clrFrom>
                <a:clrTo>
                  <a:srgbClr val="F7F7F7">
                    <a:alpha val="0"/>
                  </a:srgbClr>
                </a:clrTo>
              </a:clrChange>
            </a:blip>
            <a:srcRect/>
            <a:stretch>
              <a:fillRect/>
            </a:stretch>
          </p:blipFill>
          <p:spPr bwMode="auto">
            <a:xfrm>
              <a:off x="6973474" y="2548434"/>
              <a:ext cx="2395135" cy="1064594"/>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标题 1"/>
          <p:cNvSpPr>
            <a:spLocks noGrp="1"/>
          </p:cNvSpPr>
          <p:nvPr>
            <p:ph type="title"/>
          </p:nvPr>
        </p:nvSpPr>
        <p:spPr bwMode="auto">
          <a:xfrm>
            <a:off x="609600" y="77788"/>
            <a:ext cx="10972800" cy="1143000"/>
          </a:xfrm>
          <a:noFill/>
          <a:ln>
            <a:miter lim="800000"/>
            <a:headEnd/>
            <a:tailEnd/>
          </a:ln>
        </p:spPr>
        <p:txBody>
          <a:bodyPr vert="horz" wrap="square" lIns="121917" tIns="60958" rIns="121917" bIns="60958" numCol="1" anchor="t" anchorCtr="0" compatLnSpc="1">
            <a:prstTxWarp prst="textNoShape">
              <a:avLst/>
            </a:prstTxWarp>
          </a:bodyPr>
          <a:lstStyle/>
          <a:p>
            <a:r>
              <a:rPr lang="zh-CN" altLang="en-US" sz="3700" smtClean="0"/>
              <a:t>广告投放后，</a:t>
            </a:r>
            <a:r>
              <a:rPr lang="en-US" altLang="zh-CN" sz="3700" smtClean="0"/>
              <a:t>AppStore</a:t>
            </a:r>
            <a:r>
              <a:rPr lang="zh-CN" altLang="en-US" sz="3700" smtClean="0"/>
              <a:t>排行榜上升</a:t>
            </a:r>
          </a:p>
        </p:txBody>
      </p:sp>
      <p:graphicFrame>
        <p:nvGraphicFramePr>
          <p:cNvPr id="62466" name="图表 13"/>
          <p:cNvGraphicFramePr>
            <a:graphicFrameLocks/>
          </p:cNvGraphicFramePr>
          <p:nvPr/>
        </p:nvGraphicFramePr>
        <p:xfrm>
          <a:off x="644525" y="1938338"/>
          <a:ext cx="10902950" cy="4691062"/>
        </p:xfrm>
        <a:graphic>
          <a:graphicData uri="http://schemas.openxmlformats.org/presentationml/2006/ole">
            <p:oleObj spid="_x0000_s62466" r:id="rId3" imgW="10900593" imgH="4694327" progId="Excel.Chart.8">
              <p:embed/>
            </p:oleObj>
          </a:graphicData>
        </a:graphic>
      </p:graphicFrame>
      <p:sp>
        <p:nvSpPr>
          <p:cNvPr id="62467" name="矩形 14"/>
          <p:cNvSpPr>
            <a:spLocks noChangeArrowheads="1"/>
          </p:cNvSpPr>
          <p:nvPr/>
        </p:nvSpPr>
        <p:spPr bwMode="auto">
          <a:xfrm>
            <a:off x="1022350" y="6221413"/>
            <a:ext cx="4238625" cy="331787"/>
          </a:xfrm>
          <a:prstGeom prst="rect">
            <a:avLst/>
          </a:prstGeom>
          <a:noFill/>
          <a:ln w="9525">
            <a:noFill/>
            <a:miter lim="800000"/>
            <a:headEnd/>
            <a:tailEnd/>
          </a:ln>
        </p:spPr>
        <p:txBody>
          <a:bodyPr wrap="none" lIns="91438" tIns="45719" rIns="91438" bIns="45719">
            <a:spAutoFit/>
          </a:bodyPr>
          <a:lstStyle/>
          <a:p>
            <a:pPr defTabSz="966788">
              <a:lnSpc>
                <a:spcPct val="130000"/>
              </a:lnSpc>
            </a:pPr>
            <a:r>
              <a:rPr lang="en-US" altLang="zh-CN" sz="1200">
                <a:solidFill>
                  <a:srgbClr val="7F7F7F"/>
                </a:solidFill>
                <a:ea typeface="华文细黑"/>
                <a:cs typeface="华文细黑"/>
              </a:rPr>
              <a:t>Source</a:t>
            </a:r>
            <a:r>
              <a:rPr lang="zh-CN" altLang="en-US" sz="1200">
                <a:solidFill>
                  <a:srgbClr val="7F7F7F"/>
                </a:solidFill>
                <a:ea typeface="华文细黑"/>
                <a:cs typeface="华文细黑"/>
              </a:rPr>
              <a:t>：</a:t>
            </a:r>
            <a:r>
              <a:rPr lang="en-US" altLang="zh-CN" sz="1200">
                <a:solidFill>
                  <a:srgbClr val="7F7F7F"/>
                </a:solidFill>
                <a:ea typeface="华文细黑"/>
                <a:cs typeface="华文细黑"/>
              </a:rPr>
              <a:t>AppStore</a:t>
            </a:r>
            <a:r>
              <a:rPr lang="zh-CN" altLang="en-US" sz="1200">
                <a:solidFill>
                  <a:srgbClr val="7F7F7F"/>
                </a:solidFill>
                <a:ea typeface="华文细黑"/>
                <a:cs typeface="华文细黑"/>
              </a:rPr>
              <a:t>公开数据 </a:t>
            </a:r>
            <a:r>
              <a:rPr lang="en-US" altLang="zh-CN" sz="1200">
                <a:solidFill>
                  <a:srgbClr val="7F7F7F"/>
                </a:solidFill>
                <a:ea typeface="华文细黑"/>
                <a:cs typeface="华文细黑"/>
              </a:rPr>
              <a:t>iPhone</a:t>
            </a:r>
            <a:r>
              <a:rPr lang="zh-CN" altLang="en-US" sz="1200">
                <a:solidFill>
                  <a:srgbClr val="7F7F7F"/>
                </a:solidFill>
                <a:ea typeface="华文细黑"/>
                <a:cs typeface="华文细黑"/>
              </a:rPr>
              <a:t>总榜（免费） </a:t>
            </a:r>
            <a:r>
              <a:rPr lang="en-US" altLang="zh-CN" sz="1200">
                <a:solidFill>
                  <a:srgbClr val="7F7F7F"/>
                </a:solidFill>
                <a:ea typeface="华文细黑"/>
                <a:cs typeface="华文细黑"/>
              </a:rPr>
              <a:t>ann9.com</a:t>
            </a:r>
            <a:endParaRPr lang="zh-CN" altLang="en-US" sz="1200">
              <a:solidFill>
                <a:srgbClr val="7F7F7F"/>
              </a:solidFill>
              <a:ea typeface="华文细黑"/>
              <a:cs typeface="华文细黑"/>
            </a:endParaRPr>
          </a:p>
        </p:txBody>
      </p:sp>
      <p:sp>
        <p:nvSpPr>
          <p:cNvPr id="62468" name="矩形 10"/>
          <p:cNvSpPr>
            <a:spLocks noChangeArrowheads="1"/>
          </p:cNvSpPr>
          <p:nvPr/>
        </p:nvSpPr>
        <p:spPr bwMode="auto">
          <a:xfrm>
            <a:off x="1190625" y="2824163"/>
            <a:ext cx="2058988" cy="2662237"/>
          </a:xfrm>
          <a:prstGeom prst="rect">
            <a:avLst/>
          </a:prstGeom>
          <a:solidFill>
            <a:schemeClr val="tx1">
              <a:alpha val="21176"/>
            </a:schemeClr>
          </a:solidFill>
          <a:ln w="9525">
            <a:noFill/>
            <a:miter lim="800000"/>
            <a:headEnd/>
            <a:tailEnd/>
          </a:ln>
        </p:spPr>
        <p:txBody>
          <a:bodyPr lIns="91438" tIns="45719" rIns="91438" bIns="45719" anchor="ctr"/>
          <a:lstStyle/>
          <a:p>
            <a:pPr defTabSz="966788">
              <a:lnSpc>
                <a:spcPct val="130000"/>
              </a:lnSpc>
            </a:pPr>
            <a:endParaRPr lang="zh-CN" altLang="en-US" sz="2800" b="1">
              <a:solidFill>
                <a:srgbClr val="FFFFFF"/>
              </a:solidFill>
              <a:ea typeface="华文细黑"/>
              <a:cs typeface="华文细黑"/>
            </a:endParaRPr>
          </a:p>
        </p:txBody>
      </p:sp>
      <p:cxnSp>
        <p:nvCxnSpPr>
          <p:cNvPr id="17" name="直接连接符 16"/>
          <p:cNvCxnSpPr/>
          <p:nvPr/>
        </p:nvCxnSpPr>
        <p:spPr bwMode="auto">
          <a:xfrm>
            <a:off x="3251200" y="2827338"/>
            <a:ext cx="0" cy="2779712"/>
          </a:xfrm>
          <a:prstGeom prst="line">
            <a:avLst/>
          </a:prstGeom>
          <a:ln w="28575">
            <a:solidFill>
              <a:srgbClr val="FF0000"/>
            </a:solidFill>
            <a:prstDash val="dash"/>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62470" name="矩形 10"/>
          <p:cNvSpPr>
            <a:spLocks noChangeArrowheads="1"/>
          </p:cNvSpPr>
          <p:nvPr/>
        </p:nvSpPr>
        <p:spPr bwMode="auto">
          <a:xfrm>
            <a:off x="8610600" y="2824163"/>
            <a:ext cx="2700338" cy="2662237"/>
          </a:xfrm>
          <a:prstGeom prst="rect">
            <a:avLst/>
          </a:prstGeom>
          <a:solidFill>
            <a:schemeClr val="tx1">
              <a:alpha val="21176"/>
            </a:schemeClr>
          </a:solidFill>
          <a:ln w="9525">
            <a:noFill/>
            <a:miter lim="800000"/>
            <a:headEnd/>
            <a:tailEnd/>
          </a:ln>
        </p:spPr>
        <p:txBody>
          <a:bodyPr lIns="91438" tIns="45719" rIns="91438" bIns="45719" anchor="ctr"/>
          <a:lstStyle/>
          <a:p>
            <a:pPr defTabSz="966788">
              <a:lnSpc>
                <a:spcPct val="130000"/>
              </a:lnSpc>
            </a:pPr>
            <a:endParaRPr lang="zh-CN" altLang="en-US" sz="2800" b="1">
              <a:solidFill>
                <a:srgbClr val="FFFFFF"/>
              </a:solidFill>
              <a:ea typeface="华文细黑"/>
              <a:cs typeface="华文细黑"/>
            </a:endParaRPr>
          </a:p>
        </p:txBody>
      </p:sp>
      <p:cxnSp>
        <p:nvCxnSpPr>
          <p:cNvPr id="19" name="直接连接符 18"/>
          <p:cNvCxnSpPr/>
          <p:nvPr/>
        </p:nvCxnSpPr>
        <p:spPr bwMode="auto">
          <a:xfrm>
            <a:off x="8610600" y="2824163"/>
            <a:ext cx="0" cy="2778125"/>
          </a:xfrm>
          <a:prstGeom prst="line">
            <a:avLst/>
          </a:prstGeom>
          <a:ln w="28575">
            <a:solidFill>
              <a:srgbClr val="FF0000"/>
            </a:solidFill>
            <a:prstDash val="dash"/>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62472" name="矩形 19"/>
          <p:cNvSpPr>
            <a:spLocks noChangeArrowheads="1"/>
          </p:cNvSpPr>
          <p:nvPr/>
        </p:nvSpPr>
        <p:spPr bwMode="auto">
          <a:xfrm>
            <a:off x="4589463" y="4283075"/>
            <a:ext cx="2492375" cy="493713"/>
          </a:xfrm>
          <a:prstGeom prst="rect">
            <a:avLst/>
          </a:prstGeom>
          <a:noFill/>
          <a:ln w="9525">
            <a:noFill/>
            <a:miter lim="800000"/>
            <a:headEnd/>
            <a:tailEnd/>
          </a:ln>
        </p:spPr>
        <p:txBody>
          <a:bodyPr wrap="none" lIns="91438" tIns="45719" rIns="91438" bIns="45719">
            <a:spAutoFit/>
          </a:bodyPr>
          <a:lstStyle/>
          <a:p>
            <a:pPr algn="ctr" defTabSz="966788">
              <a:lnSpc>
                <a:spcPct val="130000"/>
              </a:lnSpc>
            </a:pPr>
            <a:r>
              <a:rPr lang="zh-CN" altLang="en-US" sz="2000" b="1">
                <a:solidFill>
                  <a:srgbClr val="FF0000"/>
                </a:solidFill>
                <a:latin typeface="微软雅黑" pitchFamily="34" charset="-122"/>
                <a:ea typeface="华文细黑"/>
                <a:cs typeface="华文细黑"/>
              </a:rPr>
              <a:t>饿了么分众投放时期</a:t>
            </a:r>
          </a:p>
        </p:txBody>
      </p:sp>
      <p:sp>
        <p:nvSpPr>
          <p:cNvPr id="62473" name="文本框 4"/>
          <p:cNvSpPr txBox="1">
            <a:spLocks noChangeArrowheads="1"/>
          </p:cNvSpPr>
          <p:nvPr/>
        </p:nvSpPr>
        <p:spPr bwMode="auto">
          <a:xfrm>
            <a:off x="1176338" y="1127125"/>
            <a:ext cx="9502775" cy="1012825"/>
          </a:xfrm>
          <a:prstGeom prst="rect">
            <a:avLst/>
          </a:prstGeom>
          <a:noFill/>
          <a:ln w="9525">
            <a:noFill/>
            <a:miter lim="800000"/>
            <a:headEnd/>
            <a:tailEnd/>
          </a:ln>
        </p:spPr>
        <p:txBody>
          <a:bodyPr lIns="91438" tIns="45719" rIns="91438" bIns="45719">
            <a:spAutoFit/>
          </a:bodyPr>
          <a:lstStyle/>
          <a:p>
            <a:pPr marL="282575" indent="-282575" defTabSz="966788">
              <a:lnSpc>
                <a:spcPct val="130000"/>
              </a:lnSpc>
              <a:buFont typeface="Wingdings" pitchFamily="2" charset="2"/>
              <a:buChar char="Ø"/>
            </a:pPr>
            <a:r>
              <a:rPr lang="zh-CN" altLang="en-US" sz="1700">
                <a:solidFill>
                  <a:srgbClr val="262626"/>
                </a:solidFill>
                <a:latin typeface="微软雅黑" pitchFamily="34" charset="-122"/>
                <a:ea typeface="微软雅黑" pitchFamily="34" charset="-122"/>
              </a:rPr>
              <a:t>截止至</a:t>
            </a:r>
            <a:r>
              <a:rPr lang="en-US" altLang="zh-CN" sz="1700">
                <a:solidFill>
                  <a:srgbClr val="262626"/>
                </a:solidFill>
                <a:latin typeface="微软雅黑" pitchFamily="34" charset="-122"/>
                <a:ea typeface="微软雅黑" pitchFamily="34" charset="-122"/>
              </a:rPr>
              <a:t>8</a:t>
            </a:r>
            <a:r>
              <a:rPr lang="zh-CN" altLang="en-US" sz="1700">
                <a:solidFill>
                  <a:srgbClr val="262626"/>
                </a:solidFill>
                <a:latin typeface="微软雅黑" pitchFamily="34" charset="-122"/>
                <a:ea typeface="微软雅黑" pitchFamily="34" charset="-122"/>
              </a:rPr>
              <a:t>月初日，饿了么在苹果</a:t>
            </a:r>
            <a:r>
              <a:rPr lang="en-US" altLang="zh-CN" sz="1700">
                <a:solidFill>
                  <a:srgbClr val="262626"/>
                </a:solidFill>
                <a:latin typeface="微软雅黑" pitchFamily="34" charset="-122"/>
                <a:ea typeface="微软雅黑" pitchFamily="34" charset="-122"/>
              </a:rPr>
              <a:t>App Store</a:t>
            </a:r>
            <a:r>
              <a:rPr lang="zh-CN" altLang="en-US" sz="1700">
                <a:solidFill>
                  <a:srgbClr val="262626"/>
                </a:solidFill>
                <a:latin typeface="微软雅黑" pitchFamily="34" charset="-122"/>
                <a:ea typeface="微软雅黑" pitchFamily="34" charset="-122"/>
              </a:rPr>
              <a:t>上的排名从</a:t>
            </a:r>
            <a:r>
              <a:rPr lang="en-US" altLang="zh-CN" sz="1700">
                <a:solidFill>
                  <a:srgbClr val="262626"/>
                </a:solidFill>
                <a:latin typeface="微软雅黑" pitchFamily="34" charset="-122"/>
                <a:ea typeface="微软雅黑" pitchFamily="34" charset="-122"/>
              </a:rPr>
              <a:t>100</a:t>
            </a:r>
            <a:r>
              <a:rPr lang="zh-CN" altLang="en-US" sz="1700">
                <a:solidFill>
                  <a:srgbClr val="262626"/>
                </a:solidFill>
                <a:latin typeface="微软雅黑" pitchFamily="34" charset="-122"/>
                <a:ea typeface="微软雅黑" pitchFamily="34" charset="-122"/>
              </a:rPr>
              <a:t>多位升至</a:t>
            </a:r>
            <a:r>
              <a:rPr lang="en-US" altLang="zh-CN" sz="2900" b="1">
                <a:solidFill>
                  <a:srgbClr val="FF0000"/>
                </a:solidFill>
                <a:latin typeface="Impact" pitchFamily="34" charset="0"/>
                <a:ea typeface="微软雅黑" pitchFamily="34" charset="-122"/>
              </a:rPr>
              <a:t>20</a:t>
            </a:r>
            <a:r>
              <a:rPr lang="zh-CN" altLang="en-US" sz="1700">
                <a:solidFill>
                  <a:srgbClr val="262626"/>
                </a:solidFill>
                <a:latin typeface="微软雅黑" pitchFamily="34" charset="-122"/>
                <a:ea typeface="微软雅黑" pitchFamily="34" charset="-122"/>
              </a:rPr>
              <a:t>位，热度直逼微信！</a:t>
            </a:r>
            <a:endParaRPr lang="en-US" altLang="zh-CN" sz="1700">
              <a:solidFill>
                <a:srgbClr val="262626"/>
              </a:solidFill>
              <a:latin typeface="微软雅黑" pitchFamily="34" charset="-122"/>
              <a:ea typeface="微软雅黑" pitchFamily="34" charset="-122"/>
            </a:endParaRPr>
          </a:p>
          <a:p>
            <a:pPr marL="282575" indent="-282575" defTabSz="966788">
              <a:lnSpc>
                <a:spcPct val="130000"/>
              </a:lnSpc>
              <a:buFont typeface="Wingdings" pitchFamily="2" charset="2"/>
              <a:buChar char="Ø"/>
            </a:pPr>
            <a:r>
              <a:rPr lang="zh-CN" altLang="en-US" sz="1700">
                <a:solidFill>
                  <a:srgbClr val="262626"/>
                </a:solidFill>
                <a:latin typeface="微软雅黑" pitchFamily="34" charset="-122"/>
                <a:ea typeface="微软雅黑" pitchFamily="34" charset="-122"/>
              </a:rPr>
              <a:t>与行业巨头百度、美团外卖相比，</a:t>
            </a:r>
            <a:r>
              <a:rPr lang="en-US" altLang="zh-CN" sz="1700">
                <a:solidFill>
                  <a:srgbClr val="262626"/>
                </a:solidFill>
                <a:latin typeface="微软雅黑" pitchFamily="34" charset="-122"/>
                <a:ea typeface="微软雅黑" pitchFamily="34" charset="-122"/>
              </a:rPr>
              <a:t>APP</a:t>
            </a:r>
            <a:r>
              <a:rPr lang="zh-CN" altLang="en-US" sz="1700">
                <a:solidFill>
                  <a:srgbClr val="262626"/>
                </a:solidFill>
                <a:latin typeface="微软雅黑" pitchFamily="34" charset="-122"/>
                <a:ea typeface="微软雅黑" pitchFamily="34" charset="-122"/>
              </a:rPr>
              <a:t>总榜从投放前的不分上下到投放后的遥遥领先！</a:t>
            </a:r>
            <a:endParaRPr lang="en-US" altLang="zh-CN" sz="1700">
              <a:solidFill>
                <a:srgbClr val="262626"/>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标题 1"/>
          <p:cNvSpPr>
            <a:spLocks noGrp="1"/>
          </p:cNvSpPr>
          <p:nvPr>
            <p:ph type="title"/>
          </p:nvPr>
        </p:nvSpPr>
        <p:spPr bwMode="auto">
          <a:xfrm>
            <a:off x="431800" y="280988"/>
            <a:ext cx="10367963" cy="1143000"/>
          </a:xfrm>
          <a:noFill/>
          <a:ln>
            <a:miter lim="800000"/>
            <a:headEnd/>
            <a:tailEnd/>
          </a:ln>
        </p:spPr>
        <p:txBody>
          <a:bodyPr vert="horz" wrap="square" lIns="121917" tIns="60958" rIns="121917" bIns="60958" numCol="1" anchor="t" anchorCtr="0" compatLnSpc="1">
            <a:prstTxWarp prst="textNoShape">
              <a:avLst/>
            </a:prstTxWarp>
          </a:bodyPr>
          <a:lstStyle/>
          <a:p>
            <a:r>
              <a:rPr lang="zh-CN" altLang="en-US" sz="4300" smtClean="0"/>
              <a:t>用户数与销量齐飞</a:t>
            </a:r>
          </a:p>
        </p:txBody>
      </p:sp>
      <p:sp>
        <p:nvSpPr>
          <p:cNvPr id="63490" name="文本框 4"/>
          <p:cNvSpPr txBox="1">
            <a:spLocks noChangeArrowheads="1"/>
          </p:cNvSpPr>
          <p:nvPr/>
        </p:nvSpPr>
        <p:spPr bwMode="auto">
          <a:xfrm>
            <a:off x="5029200" y="2082800"/>
            <a:ext cx="6477000" cy="1430338"/>
          </a:xfrm>
          <a:prstGeom prst="rect">
            <a:avLst/>
          </a:prstGeom>
          <a:noFill/>
          <a:ln w="9525">
            <a:noFill/>
            <a:miter lim="800000"/>
            <a:headEnd/>
            <a:tailEnd/>
          </a:ln>
        </p:spPr>
        <p:txBody>
          <a:bodyPr lIns="91438" tIns="45719" rIns="91438" bIns="45719">
            <a:spAutoFit/>
          </a:bodyPr>
          <a:lstStyle/>
          <a:p>
            <a:pPr marL="301625" indent="-301625" defTabSz="966788">
              <a:lnSpc>
                <a:spcPct val="150000"/>
              </a:lnSpc>
              <a:buFont typeface="Wingdings" pitchFamily="2" charset="2"/>
              <a:buChar char="Ø"/>
            </a:pPr>
            <a:r>
              <a:rPr lang="zh-CN" altLang="en-US" sz="1900">
                <a:solidFill>
                  <a:srgbClr val="262626"/>
                </a:solidFill>
                <a:latin typeface="微软雅黑" pitchFamily="34" charset="-122"/>
                <a:ea typeface="微软雅黑" pitchFamily="34" charset="-122"/>
              </a:rPr>
              <a:t>第一轮投放后：由</a:t>
            </a:r>
            <a:r>
              <a:rPr lang="en-US" altLang="zh-CN" sz="1900">
                <a:solidFill>
                  <a:srgbClr val="262626"/>
                </a:solidFill>
                <a:latin typeface="Impact" pitchFamily="34" charset="0"/>
                <a:ea typeface="微软雅黑" pitchFamily="34" charset="-122"/>
              </a:rPr>
              <a:t>700</a:t>
            </a:r>
            <a:r>
              <a:rPr lang="zh-CN" altLang="en-US" sz="1900">
                <a:solidFill>
                  <a:srgbClr val="262626"/>
                </a:solidFill>
                <a:latin typeface="微软雅黑" pitchFamily="34" charset="-122"/>
                <a:ea typeface="微软雅黑" pitchFamily="34" charset="-122"/>
              </a:rPr>
              <a:t>万增至</a:t>
            </a:r>
            <a:r>
              <a:rPr lang="en-US" altLang="zh-CN" sz="2500">
                <a:solidFill>
                  <a:srgbClr val="FF0000"/>
                </a:solidFill>
                <a:latin typeface="Impact" pitchFamily="34" charset="0"/>
                <a:ea typeface="微软雅黑" pitchFamily="34" charset="-122"/>
              </a:rPr>
              <a:t>1500</a:t>
            </a:r>
            <a:r>
              <a:rPr lang="zh-CN" altLang="en-US" sz="1900">
                <a:solidFill>
                  <a:srgbClr val="262626"/>
                </a:solidFill>
                <a:latin typeface="微软雅黑" pitchFamily="34" charset="-122"/>
                <a:ea typeface="微软雅黑" pitchFamily="34" charset="-122"/>
              </a:rPr>
              <a:t>万，增长</a:t>
            </a:r>
            <a:r>
              <a:rPr lang="en-US" altLang="zh-CN" sz="2900">
                <a:solidFill>
                  <a:srgbClr val="FF0000"/>
                </a:solidFill>
                <a:latin typeface="Impact" pitchFamily="34" charset="0"/>
                <a:ea typeface="微软雅黑" pitchFamily="34" charset="-122"/>
              </a:rPr>
              <a:t>114%</a:t>
            </a:r>
            <a:endParaRPr lang="en-US" altLang="zh-CN" sz="1900">
              <a:solidFill>
                <a:srgbClr val="FF0000"/>
              </a:solidFill>
              <a:latin typeface="Impact" pitchFamily="34" charset="0"/>
              <a:ea typeface="微软雅黑" pitchFamily="34" charset="-122"/>
            </a:endParaRPr>
          </a:p>
          <a:p>
            <a:pPr marL="301625" indent="-301625" defTabSz="966788">
              <a:lnSpc>
                <a:spcPct val="150000"/>
              </a:lnSpc>
              <a:buFont typeface="Wingdings" pitchFamily="2" charset="2"/>
              <a:buChar char="Ø"/>
            </a:pPr>
            <a:r>
              <a:rPr lang="zh-CN" altLang="en-US" sz="1900">
                <a:solidFill>
                  <a:srgbClr val="262626"/>
                </a:solidFill>
                <a:latin typeface="微软雅黑" pitchFamily="34" charset="-122"/>
                <a:ea typeface="微软雅黑" pitchFamily="34" charset="-122"/>
              </a:rPr>
              <a:t>第二轮投放后：由</a:t>
            </a:r>
            <a:r>
              <a:rPr lang="en-US" altLang="zh-CN" sz="1900">
                <a:solidFill>
                  <a:srgbClr val="262626"/>
                </a:solidFill>
                <a:latin typeface="Impact" pitchFamily="34" charset="0"/>
                <a:ea typeface="微软雅黑" pitchFamily="34" charset="-122"/>
              </a:rPr>
              <a:t>1500</a:t>
            </a:r>
            <a:r>
              <a:rPr lang="zh-CN" altLang="en-US" sz="1900">
                <a:solidFill>
                  <a:srgbClr val="262626"/>
                </a:solidFill>
                <a:latin typeface="微软雅黑" pitchFamily="34" charset="-122"/>
                <a:ea typeface="微软雅黑" pitchFamily="34" charset="-122"/>
              </a:rPr>
              <a:t>万增至</a:t>
            </a:r>
            <a:r>
              <a:rPr lang="en-US" altLang="zh-CN" sz="2500">
                <a:solidFill>
                  <a:srgbClr val="FF0000"/>
                </a:solidFill>
                <a:latin typeface="Impact" pitchFamily="34" charset="0"/>
                <a:ea typeface="微软雅黑" pitchFamily="34" charset="-122"/>
              </a:rPr>
              <a:t>3400</a:t>
            </a:r>
            <a:r>
              <a:rPr lang="zh-CN" altLang="en-US" sz="1900">
                <a:solidFill>
                  <a:srgbClr val="262626"/>
                </a:solidFill>
                <a:latin typeface="微软雅黑" pitchFamily="34" charset="-122"/>
                <a:ea typeface="微软雅黑" pitchFamily="34" charset="-122"/>
              </a:rPr>
              <a:t>万，增长</a:t>
            </a:r>
            <a:r>
              <a:rPr lang="en-US" altLang="zh-CN" sz="2900">
                <a:solidFill>
                  <a:srgbClr val="FF0000"/>
                </a:solidFill>
                <a:latin typeface="Impact" pitchFamily="34" charset="0"/>
                <a:ea typeface="微软雅黑" pitchFamily="34" charset="-122"/>
              </a:rPr>
              <a:t>127%</a:t>
            </a:r>
            <a:endParaRPr lang="en-US" altLang="zh-CN" sz="2100">
              <a:solidFill>
                <a:srgbClr val="FF0000"/>
              </a:solidFill>
              <a:latin typeface="Impact" pitchFamily="34" charset="0"/>
              <a:ea typeface="微软雅黑" pitchFamily="34" charset="-122"/>
            </a:endParaRPr>
          </a:p>
        </p:txBody>
      </p:sp>
      <p:cxnSp>
        <p:nvCxnSpPr>
          <p:cNvPr id="13" name="直接连接符 12"/>
          <p:cNvCxnSpPr/>
          <p:nvPr/>
        </p:nvCxnSpPr>
        <p:spPr bwMode="auto">
          <a:xfrm>
            <a:off x="5181600" y="3733800"/>
            <a:ext cx="5715000" cy="0"/>
          </a:xfrm>
          <a:prstGeom prst="line">
            <a:avLst/>
          </a:prstGeom>
          <a:solidFill>
            <a:srgbClr val="657F9B"/>
          </a:solidFill>
          <a:ln w="12700" cap="flat" cmpd="sng" algn="ctr">
            <a:solidFill>
              <a:schemeClr val="bg1">
                <a:lumMod val="75000"/>
              </a:schemeClr>
            </a:solidFill>
            <a:prstDash val="solid"/>
            <a:round/>
            <a:headEnd type="none" w="med" len="med"/>
            <a:tailEnd type="none" w="med" len="med"/>
          </a:ln>
          <a:effectLst/>
          <a:extLst>
            <a:ext uri="{AF507438-7753-43E0-B8FC-AC1667EBCBE1}"/>
          </a:extLst>
        </p:spPr>
      </p:cxnSp>
      <p:sp>
        <p:nvSpPr>
          <p:cNvPr id="63492" name="五边形 13"/>
          <p:cNvSpPr>
            <a:spLocks noChangeArrowheads="1"/>
          </p:cNvSpPr>
          <p:nvPr/>
        </p:nvSpPr>
        <p:spPr bwMode="auto">
          <a:xfrm>
            <a:off x="1600200" y="2211388"/>
            <a:ext cx="3048000" cy="1143000"/>
          </a:xfrm>
          <a:prstGeom prst="homePlate">
            <a:avLst>
              <a:gd name="adj" fmla="val 50000"/>
            </a:avLst>
          </a:prstGeom>
          <a:solidFill>
            <a:srgbClr val="00B0F0"/>
          </a:solidFill>
          <a:ln w="9525">
            <a:noFill/>
            <a:miter lim="800000"/>
            <a:headEnd/>
            <a:tailEnd/>
          </a:ln>
        </p:spPr>
        <p:txBody>
          <a:bodyPr lIns="96768" tIns="48385" rIns="96768" bIns="48385" anchor="ctr"/>
          <a:lstStyle/>
          <a:p>
            <a:pPr algn="ctr" defTabSz="966788">
              <a:lnSpc>
                <a:spcPct val="130000"/>
              </a:lnSpc>
            </a:pPr>
            <a:r>
              <a:rPr lang="zh-CN" altLang="en-US" sz="2500" b="1">
                <a:solidFill>
                  <a:srgbClr val="FFFFFF"/>
                </a:solidFill>
                <a:latin typeface="微软雅黑" pitchFamily="34" charset="-122"/>
                <a:ea typeface="微软雅黑" pitchFamily="34" charset="-122"/>
              </a:rPr>
              <a:t>白领交易额</a:t>
            </a:r>
          </a:p>
        </p:txBody>
      </p:sp>
      <p:sp>
        <p:nvSpPr>
          <p:cNvPr id="63493" name="五边形 14"/>
          <p:cNvSpPr>
            <a:spLocks noChangeArrowheads="1"/>
          </p:cNvSpPr>
          <p:nvPr/>
        </p:nvSpPr>
        <p:spPr bwMode="auto">
          <a:xfrm>
            <a:off x="1600200" y="4367213"/>
            <a:ext cx="3048000" cy="1143000"/>
          </a:xfrm>
          <a:prstGeom prst="homePlate">
            <a:avLst>
              <a:gd name="adj" fmla="val 50000"/>
            </a:avLst>
          </a:prstGeom>
          <a:solidFill>
            <a:srgbClr val="00B0F0"/>
          </a:solidFill>
          <a:ln w="9525">
            <a:noFill/>
            <a:miter lim="800000"/>
            <a:headEnd/>
            <a:tailEnd/>
          </a:ln>
        </p:spPr>
        <p:txBody>
          <a:bodyPr lIns="96768" tIns="48385" rIns="96768" bIns="48385" anchor="ctr"/>
          <a:lstStyle/>
          <a:p>
            <a:pPr algn="ctr" defTabSz="966788">
              <a:lnSpc>
                <a:spcPct val="130000"/>
              </a:lnSpc>
            </a:pPr>
            <a:r>
              <a:rPr lang="zh-CN" altLang="en-US" sz="2500" b="1">
                <a:solidFill>
                  <a:srgbClr val="FFFFFF"/>
                </a:solidFill>
                <a:latin typeface="微软雅黑" pitchFamily="34" charset="-122"/>
                <a:ea typeface="微软雅黑" pitchFamily="34" charset="-122"/>
              </a:rPr>
              <a:t>新客户增长比例</a:t>
            </a:r>
          </a:p>
        </p:txBody>
      </p:sp>
      <p:sp>
        <p:nvSpPr>
          <p:cNvPr id="63494" name="文本框 4"/>
          <p:cNvSpPr txBox="1">
            <a:spLocks noChangeArrowheads="1"/>
          </p:cNvSpPr>
          <p:nvPr/>
        </p:nvSpPr>
        <p:spPr bwMode="auto">
          <a:xfrm>
            <a:off x="5029200" y="4010025"/>
            <a:ext cx="4487863" cy="1824038"/>
          </a:xfrm>
          <a:prstGeom prst="rect">
            <a:avLst/>
          </a:prstGeom>
          <a:noFill/>
          <a:ln w="9525">
            <a:noFill/>
            <a:miter lim="800000"/>
            <a:headEnd/>
            <a:tailEnd/>
          </a:ln>
        </p:spPr>
        <p:txBody>
          <a:bodyPr lIns="91438" tIns="45719" rIns="91438" bIns="45719">
            <a:spAutoFit/>
          </a:bodyPr>
          <a:lstStyle/>
          <a:p>
            <a:pPr marL="301625" indent="-301625" defTabSz="966788">
              <a:lnSpc>
                <a:spcPct val="150000"/>
              </a:lnSpc>
              <a:buFont typeface="Wingdings" pitchFamily="2" charset="2"/>
              <a:buChar char="Ø"/>
            </a:pPr>
            <a:r>
              <a:rPr lang="zh-CN" altLang="en-US" sz="1900">
                <a:solidFill>
                  <a:srgbClr val="262626"/>
                </a:solidFill>
                <a:latin typeface="微软雅黑" pitchFamily="34" charset="-122"/>
                <a:ea typeface="微软雅黑" pitchFamily="34" charset="-122"/>
              </a:rPr>
              <a:t>开始投放前：</a:t>
            </a:r>
            <a:r>
              <a:rPr lang="en-US" altLang="zh-CN" sz="2500">
                <a:solidFill>
                  <a:srgbClr val="FF0000"/>
                </a:solidFill>
                <a:latin typeface="Impact" pitchFamily="34" charset="0"/>
                <a:ea typeface="微软雅黑" pitchFamily="34" charset="-122"/>
              </a:rPr>
              <a:t>9%</a:t>
            </a:r>
            <a:endParaRPr lang="en-US" altLang="zh-CN" sz="2900">
              <a:solidFill>
                <a:srgbClr val="FF0000"/>
              </a:solidFill>
              <a:latin typeface="Impact" pitchFamily="34" charset="0"/>
              <a:ea typeface="微软雅黑" pitchFamily="34" charset="-122"/>
            </a:endParaRPr>
          </a:p>
          <a:p>
            <a:pPr marL="301625" indent="-301625" defTabSz="966788">
              <a:lnSpc>
                <a:spcPct val="150000"/>
              </a:lnSpc>
              <a:buFont typeface="Wingdings" pitchFamily="2" charset="2"/>
              <a:buChar char="Ø"/>
            </a:pPr>
            <a:r>
              <a:rPr lang="zh-CN" altLang="en-US" sz="1900">
                <a:solidFill>
                  <a:srgbClr val="262626"/>
                </a:solidFill>
                <a:latin typeface="微软雅黑" pitchFamily="34" charset="-122"/>
                <a:ea typeface="微软雅黑" pitchFamily="34" charset="-122"/>
              </a:rPr>
              <a:t>投放第一波：</a:t>
            </a:r>
            <a:r>
              <a:rPr lang="en-US" altLang="zh-CN" sz="2500">
                <a:solidFill>
                  <a:srgbClr val="FF0000"/>
                </a:solidFill>
                <a:latin typeface="Impact" pitchFamily="34" charset="0"/>
                <a:ea typeface="微软雅黑" pitchFamily="34" charset="-122"/>
              </a:rPr>
              <a:t>31%</a:t>
            </a:r>
            <a:endParaRPr lang="en-US" altLang="zh-CN" sz="1900">
              <a:solidFill>
                <a:srgbClr val="FF0000"/>
              </a:solidFill>
              <a:latin typeface="Impact" pitchFamily="34" charset="0"/>
              <a:ea typeface="微软雅黑" pitchFamily="34" charset="-122"/>
            </a:endParaRPr>
          </a:p>
          <a:p>
            <a:pPr marL="301625" indent="-301625" defTabSz="966788">
              <a:lnSpc>
                <a:spcPct val="150000"/>
              </a:lnSpc>
              <a:buFont typeface="Wingdings" pitchFamily="2" charset="2"/>
              <a:buChar char="Ø"/>
            </a:pPr>
            <a:r>
              <a:rPr lang="zh-CN" altLang="en-US" sz="1900">
                <a:solidFill>
                  <a:srgbClr val="262626"/>
                </a:solidFill>
                <a:latin typeface="微软雅黑" pitchFamily="34" charset="-122"/>
                <a:ea typeface="微软雅黑" pitchFamily="34" charset="-122"/>
              </a:rPr>
              <a:t>投放第二波：</a:t>
            </a:r>
            <a:r>
              <a:rPr lang="en-US" altLang="zh-CN" sz="2500">
                <a:solidFill>
                  <a:srgbClr val="FF0000"/>
                </a:solidFill>
                <a:latin typeface="Impact" pitchFamily="34" charset="0"/>
                <a:ea typeface="微软雅黑" pitchFamily="34" charset="-122"/>
              </a:rPr>
              <a:t>81%</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标题 1"/>
          <p:cNvSpPr>
            <a:spLocks noGrp="1"/>
          </p:cNvSpPr>
          <p:nvPr>
            <p:ph type="title"/>
          </p:nvPr>
        </p:nvSpPr>
        <p:spPr bwMode="auto">
          <a:xfrm>
            <a:off x="431800" y="280988"/>
            <a:ext cx="10367963" cy="1143000"/>
          </a:xfrm>
          <a:noFill/>
          <a:ln>
            <a:miter lim="800000"/>
            <a:headEnd/>
            <a:tailEnd/>
          </a:ln>
        </p:spPr>
        <p:txBody>
          <a:bodyPr vert="horz" wrap="square" lIns="121917" tIns="60958" rIns="121917" bIns="60958" numCol="1" anchor="t" anchorCtr="0" compatLnSpc="1">
            <a:prstTxWarp prst="textNoShape">
              <a:avLst/>
            </a:prstTxWarp>
          </a:bodyPr>
          <a:lstStyle/>
          <a:p>
            <a:r>
              <a:rPr lang="zh-CN" altLang="en-US" sz="3700" smtClean="0"/>
              <a:t>建立品牌，赢得市场</a:t>
            </a:r>
          </a:p>
        </p:txBody>
      </p:sp>
      <p:sp>
        <p:nvSpPr>
          <p:cNvPr id="64514" name="文本框 2"/>
          <p:cNvSpPr txBox="1">
            <a:spLocks noChangeArrowheads="1"/>
          </p:cNvSpPr>
          <p:nvPr/>
        </p:nvSpPr>
        <p:spPr bwMode="auto">
          <a:xfrm>
            <a:off x="5867400" y="2590800"/>
            <a:ext cx="5562600" cy="2233613"/>
          </a:xfrm>
          <a:prstGeom prst="rect">
            <a:avLst/>
          </a:prstGeom>
          <a:noFill/>
          <a:ln w="9525">
            <a:noFill/>
            <a:miter lim="800000"/>
            <a:headEnd/>
            <a:tailEnd/>
          </a:ln>
        </p:spPr>
        <p:txBody>
          <a:bodyPr lIns="91438" tIns="45719" rIns="91438" bIns="45719">
            <a:spAutoFit/>
          </a:bodyPr>
          <a:lstStyle/>
          <a:p>
            <a:pPr marL="301625" indent="-301625" defTabSz="966788">
              <a:lnSpc>
                <a:spcPct val="130000"/>
              </a:lnSpc>
              <a:buFont typeface="Arial" charset="0"/>
              <a:buChar char="•"/>
            </a:pPr>
            <a:r>
              <a:rPr lang="en-US" altLang="zh-CN" sz="1900">
                <a:solidFill>
                  <a:srgbClr val="262626"/>
                </a:solidFill>
                <a:latin typeface="微软雅黑" pitchFamily="34" charset="-122"/>
                <a:ea typeface="微软雅黑" pitchFamily="34" charset="-122"/>
              </a:rPr>
              <a:t>2015</a:t>
            </a:r>
            <a:r>
              <a:rPr lang="zh-CN" altLang="en-US" sz="1900">
                <a:solidFill>
                  <a:srgbClr val="262626"/>
                </a:solidFill>
                <a:latin typeface="微软雅黑" pitchFamily="34" charset="-122"/>
                <a:ea typeface="微软雅黑" pitchFamily="34" charset="-122"/>
              </a:rPr>
              <a:t>年</a:t>
            </a:r>
            <a:r>
              <a:rPr lang="en-US" altLang="zh-CN" sz="1900">
                <a:solidFill>
                  <a:srgbClr val="262626"/>
                </a:solidFill>
                <a:latin typeface="微软雅黑" pitchFamily="34" charset="-122"/>
                <a:ea typeface="微软雅黑" pitchFamily="34" charset="-122"/>
              </a:rPr>
              <a:t>7</a:t>
            </a:r>
            <a:r>
              <a:rPr lang="zh-CN" altLang="en-US" sz="1900">
                <a:solidFill>
                  <a:srgbClr val="262626"/>
                </a:solidFill>
                <a:latin typeface="微软雅黑" pitchFamily="34" charset="-122"/>
                <a:ea typeface="微软雅黑" pitchFamily="34" charset="-122"/>
              </a:rPr>
              <a:t>月，饿了么在白领外卖市场夺得</a:t>
            </a:r>
            <a:r>
              <a:rPr lang="zh-CN" altLang="en-US" sz="1900" b="1">
                <a:solidFill>
                  <a:srgbClr val="FF0000"/>
                </a:solidFill>
                <a:latin typeface="微软雅黑" pitchFamily="34" charset="-122"/>
                <a:ea typeface="微软雅黑" pitchFamily="34" charset="-122"/>
              </a:rPr>
              <a:t>第一</a:t>
            </a:r>
            <a:endParaRPr lang="en-US" altLang="zh-CN" sz="1900" b="1">
              <a:solidFill>
                <a:srgbClr val="FF0000"/>
              </a:solidFill>
              <a:latin typeface="微软雅黑" pitchFamily="34" charset="-122"/>
              <a:ea typeface="微软雅黑" pitchFamily="34" charset="-122"/>
            </a:endParaRPr>
          </a:p>
          <a:p>
            <a:pPr marL="301625" indent="-301625" defTabSz="966788">
              <a:lnSpc>
                <a:spcPct val="130000"/>
              </a:lnSpc>
              <a:buFont typeface="Arial" charset="0"/>
              <a:buChar char="•"/>
            </a:pPr>
            <a:endParaRPr lang="en-US" altLang="zh-CN" sz="1900" b="1">
              <a:solidFill>
                <a:srgbClr val="FF0000"/>
              </a:solidFill>
              <a:latin typeface="微软雅黑" pitchFamily="34" charset="-122"/>
              <a:ea typeface="微软雅黑" pitchFamily="34" charset="-122"/>
            </a:endParaRPr>
          </a:p>
          <a:p>
            <a:pPr marL="301625" indent="-301625" defTabSz="966788">
              <a:lnSpc>
                <a:spcPct val="130000"/>
              </a:lnSpc>
              <a:buFont typeface="Arial" charset="0"/>
              <a:buChar char="•"/>
            </a:pPr>
            <a:r>
              <a:rPr lang="en-US" altLang="zh-CN" sz="1900">
                <a:solidFill>
                  <a:srgbClr val="262626"/>
                </a:solidFill>
                <a:latin typeface="微软雅黑" pitchFamily="34" charset="-122"/>
                <a:ea typeface="微软雅黑" pitchFamily="34" charset="-122"/>
              </a:rPr>
              <a:t>2016</a:t>
            </a:r>
            <a:r>
              <a:rPr lang="zh-CN" altLang="en-US" sz="1900">
                <a:solidFill>
                  <a:srgbClr val="262626"/>
                </a:solidFill>
                <a:latin typeface="微软雅黑" pitchFamily="34" charset="-122"/>
                <a:ea typeface="微软雅黑" pitchFamily="34" charset="-122"/>
              </a:rPr>
              <a:t>年初，日交易额突破</a:t>
            </a:r>
            <a:r>
              <a:rPr lang="en-US" altLang="zh-CN" sz="2500" b="1">
                <a:solidFill>
                  <a:srgbClr val="FF0000"/>
                </a:solidFill>
                <a:latin typeface="微软雅黑" pitchFamily="34" charset="-122"/>
                <a:ea typeface="微软雅黑" pitchFamily="34" charset="-122"/>
              </a:rPr>
              <a:t>1</a:t>
            </a:r>
            <a:r>
              <a:rPr lang="zh-CN" altLang="en-US" sz="2500" b="1">
                <a:solidFill>
                  <a:srgbClr val="FF0000"/>
                </a:solidFill>
                <a:latin typeface="微软雅黑" pitchFamily="34" charset="-122"/>
                <a:ea typeface="微软雅黑" pitchFamily="34" charset="-122"/>
              </a:rPr>
              <a:t>亿</a:t>
            </a:r>
            <a:r>
              <a:rPr lang="zh-CN" altLang="en-US" sz="1900">
                <a:solidFill>
                  <a:srgbClr val="262626"/>
                </a:solidFill>
                <a:latin typeface="微软雅黑" pitchFamily="34" charset="-122"/>
                <a:ea typeface="微软雅黑" pitchFamily="34" charset="-122"/>
              </a:rPr>
              <a:t>元</a:t>
            </a:r>
            <a:endParaRPr lang="en-US" altLang="zh-CN" sz="1900">
              <a:solidFill>
                <a:srgbClr val="262626"/>
              </a:solidFill>
              <a:latin typeface="微软雅黑" pitchFamily="34" charset="-122"/>
              <a:ea typeface="微软雅黑" pitchFamily="34" charset="-122"/>
            </a:endParaRPr>
          </a:p>
          <a:p>
            <a:pPr marL="301625" indent="-301625" defTabSz="966788">
              <a:lnSpc>
                <a:spcPct val="130000"/>
              </a:lnSpc>
              <a:buFont typeface="Arial" charset="0"/>
              <a:buChar char="•"/>
            </a:pPr>
            <a:endParaRPr lang="en-US" altLang="zh-CN" sz="1900">
              <a:solidFill>
                <a:srgbClr val="262626"/>
              </a:solidFill>
              <a:latin typeface="微软雅黑" pitchFamily="34" charset="-122"/>
              <a:ea typeface="微软雅黑" pitchFamily="34" charset="-122"/>
            </a:endParaRPr>
          </a:p>
          <a:p>
            <a:pPr marL="301625" indent="-301625" defTabSz="966788">
              <a:lnSpc>
                <a:spcPct val="130000"/>
              </a:lnSpc>
              <a:buFont typeface="Arial" charset="0"/>
              <a:buChar char="•"/>
            </a:pPr>
            <a:r>
              <a:rPr lang="zh-CN" altLang="en-US" sz="1900">
                <a:solidFill>
                  <a:srgbClr val="262626"/>
                </a:solidFill>
                <a:latin typeface="微软雅黑" pitchFamily="34" charset="-122"/>
                <a:ea typeface="微软雅黑" pitchFamily="34" charset="-122"/>
              </a:rPr>
              <a:t>估值从</a:t>
            </a:r>
            <a:r>
              <a:rPr lang="en-US" altLang="zh-CN" sz="2500" b="1">
                <a:solidFill>
                  <a:srgbClr val="FF0000"/>
                </a:solidFill>
                <a:latin typeface="微软雅黑" pitchFamily="34" charset="-122"/>
                <a:ea typeface="微软雅黑" pitchFamily="34" charset="-122"/>
              </a:rPr>
              <a:t>7</a:t>
            </a:r>
            <a:r>
              <a:rPr lang="zh-CN" altLang="en-US" sz="2500" b="1">
                <a:solidFill>
                  <a:srgbClr val="FF0000"/>
                </a:solidFill>
                <a:latin typeface="微软雅黑" pitchFamily="34" charset="-122"/>
                <a:ea typeface="微软雅黑" pitchFamily="34" charset="-122"/>
              </a:rPr>
              <a:t>亿</a:t>
            </a:r>
            <a:r>
              <a:rPr lang="zh-CN" altLang="en-US" sz="1900">
                <a:solidFill>
                  <a:srgbClr val="262626"/>
                </a:solidFill>
                <a:latin typeface="微软雅黑" pitchFamily="34" charset="-122"/>
                <a:ea typeface="微软雅黑" pitchFamily="34" charset="-122"/>
              </a:rPr>
              <a:t>美元升至</a:t>
            </a:r>
            <a:r>
              <a:rPr lang="en-US" altLang="zh-CN" sz="2500" b="1">
                <a:solidFill>
                  <a:srgbClr val="FF0000"/>
                </a:solidFill>
                <a:latin typeface="微软雅黑" pitchFamily="34" charset="-122"/>
                <a:ea typeface="微软雅黑" pitchFamily="34" charset="-122"/>
              </a:rPr>
              <a:t>45</a:t>
            </a:r>
            <a:r>
              <a:rPr lang="zh-CN" altLang="en-US" sz="2500" b="1">
                <a:solidFill>
                  <a:srgbClr val="FF0000"/>
                </a:solidFill>
                <a:latin typeface="微软雅黑" pitchFamily="34" charset="-122"/>
                <a:ea typeface="微软雅黑" pitchFamily="34" charset="-122"/>
              </a:rPr>
              <a:t>亿</a:t>
            </a:r>
            <a:r>
              <a:rPr lang="zh-CN" altLang="en-US" sz="1900">
                <a:solidFill>
                  <a:srgbClr val="262626"/>
                </a:solidFill>
                <a:latin typeface="微软雅黑" pitchFamily="34" charset="-122"/>
                <a:ea typeface="微软雅黑" pitchFamily="34" charset="-122"/>
              </a:rPr>
              <a:t>美元</a:t>
            </a:r>
          </a:p>
        </p:txBody>
      </p:sp>
      <p:pic>
        <p:nvPicPr>
          <p:cNvPr id="4" name="图片 3"/>
          <p:cNvPicPr>
            <a:picLocks noChangeAspect="1" noChangeArrowheads="1"/>
          </p:cNvPicPr>
          <p:nvPr/>
        </p:nvPicPr>
        <p:blipFill>
          <a:blip r:embed="rId2"/>
          <a:srcRect/>
          <a:stretch>
            <a:fillRect/>
          </a:stretch>
        </p:blipFill>
        <p:spPr bwMode="auto">
          <a:xfrm>
            <a:off x="895350" y="1657350"/>
            <a:ext cx="4799013" cy="4352925"/>
          </a:xfrm>
          <a:prstGeom prst="rect">
            <a:avLst/>
          </a:prstGeom>
          <a:noFill/>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EF7FC84E-ECA0-42A4-B5FE-0411CCD09ABC}" type="slidenum">
              <a:rPr lang="zh-CN" altLang="en-US"/>
              <a:pPr defTabSz="912813" fontAlgn="base">
                <a:spcBef>
                  <a:spcPct val="0"/>
                </a:spcBef>
                <a:spcAft>
                  <a:spcPct val="0"/>
                </a:spcAft>
              </a:pPr>
              <a:t>25</a:t>
            </a:fld>
            <a:endParaRPr lang="en-US" altLang="zh-CN"/>
          </a:p>
        </p:txBody>
      </p:sp>
      <p:sp>
        <p:nvSpPr>
          <p:cNvPr id="7" name="副标题 5"/>
          <p:cNvSpPr txBox="1">
            <a:spLocks/>
          </p:cNvSpPr>
          <p:nvPr/>
        </p:nvSpPr>
        <p:spPr>
          <a:xfrm>
            <a:off x="285750" y="452438"/>
            <a:ext cx="10763250" cy="1047750"/>
          </a:xfrm>
          <a:prstGeom prst="rect">
            <a:avLst/>
          </a:prstGeom>
        </p:spPr>
        <p:txBody>
          <a:bodyPr lIns="121920" tIns="60960" rIns="121920" bIns="60960"/>
          <a:lstStyle/>
          <a:p>
            <a:pPr algn="just">
              <a:lnSpc>
                <a:spcPct val="150000"/>
              </a:lnSpc>
              <a:spcBef>
                <a:spcPct val="20000"/>
              </a:spcBef>
            </a:pPr>
            <a:r>
              <a:rPr lang="zh-CN" altLang="en-US" sz="4200" b="1">
                <a:solidFill>
                  <a:srgbClr val="FF0000"/>
                </a:solidFill>
                <a:latin typeface="黑体" pitchFamily="49" charset="-122"/>
                <a:ea typeface="黑体" pitchFamily="49" charset="-122"/>
              </a:rPr>
              <a:t>占据特性</a:t>
            </a:r>
            <a:r>
              <a:rPr lang="en-US" altLang="zh-CN" sz="4200" b="1">
                <a:solidFill>
                  <a:srgbClr val="FF0000"/>
                </a:solidFill>
                <a:latin typeface="黑体" pitchFamily="49" charset="-122"/>
                <a:ea typeface="黑体" pitchFamily="49" charset="-122"/>
              </a:rPr>
              <a:t>,</a:t>
            </a:r>
            <a:r>
              <a:rPr lang="zh-CN" altLang="en-US" sz="4200" b="1">
                <a:solidFill>
                  <a:srgbClr val="FF0000"/>
                </a:solidFill>
                <a:latin typeface="黑体" pitchFamily="49" charset="-122"/>
                <a:ea typeface="黑体" pitchFamily="49" charset="-122"/>
              </a:rPr>
              <a:t>美团外卖的成功反击</a:t>
            </a:r>
            <a:endParaRPr lang="en-US" altLang="zh-CN" sz="4200" b="1">
              <a:solidFill>
                <a:srgbClr val="FF0000"/>
              </a:solidFill>
              <a:latin typeface="黑体" pitchFamily="49" charset="-122"/>
              <a:ea typeface="黑体" pitchFamily="49" charset="-122"/>
            </a:endParaRPr>
          </a:p>
        </p:txBody>
      </p:sp>
      <p:sp>
        <p:nvSpPr>
          <p:cNvPr id="18" name="文本框 17"/>
          <p:cNvSpPr txBox="1"/>
          <p:nvPr/>
        </p:nvSpPr>
        <p:spPr>
          <a:xfrm>
            <a:off x="5608638" y="4100513"/>
            <a:ext cx="5959475" cy="708025"/>
          </a:xfrm>
          <a:prstGeom prst="rect">
            <a:avLst/>
          </a:prstGeom>
          <a:noFill/>
        </p:spPr>
        <p:txBody>
          <a:bodyPr>
            <a:spAutoFit/>
          </a:bodyPr>
          <a:lstStyle/>
          <a:p>
            <a:pPr indent="12700" algn="ctr">
              <a:lnSpc>
                <a:spcPct val="150000"/>
              </a:lnSpc>
            </a:pPr>
            <a:r>
              <a:rPr lang="zh-CN" altLang="en-US" sz="2600">
                <a:latin typeface="黑体" pitchFamily="49" charset="-122"/>
                <a:ea typeface="黑体" pitchFamily="49" charset="-122"/>
              </a:rPr>
              <a:t>“美团外卖，送啥都快”</a:t>
            </a:r>
            <a:endParaRPr lang="zh-CN" altLang="zh-CN" sz="2600">
              <a:latin typeface="黑体" pitchFamily="49" charset="-122"/>
              <a:ea typeface="黑体" pitchFamily="49" charset="-122"/>
            </a:endParaRPr>
          </a:p>
        </p:txBody>
      </p:sp>
      <p:sp>
        <p:nvSpPr>
          <p:cNvPr id="65540" name="文本框 18"/>
          <p:cNvSpPr txBox="1">
            <a:spLocks noChangeArrowheads="1"/>
          </p:cNvSpPr>
          <p:nvPr/>
        </p:nvSpPr>
        <p:spPr bwMode="auto">
          <a:xfrm>
            <a:off x="5589588" y="2468563"/>
            <a:ext cx="6302375" cy="1077912"/>
          </a:xfrm>
          <a:prstGeom prst="rect">
            <a:avLst/>
          </a:prstGeom>
          <a:noFill/>
          <a:ln w="9525">
            <a:noFill/>
            <a:miter lim="800000"/>
            <a:headEnd/>
            <a:tailEnd/>
          </a:ln>
        </p:spPr>
        <p:txBody>
          <a:bodyPr>
            <a:spAutoFit/>
          </a:bodyPr>
          <a:lstStyle/>
          <a:p>
            <a:pPr indent="12700" algn="ctr"/>
            <a:r>
              <a:rPr lang="zh-CN" altLang="en-US" sz="3200">
                <a:latin typeface="黑体" pitchFamily="49" charset="-122"/>
                <a:ea typeface="黑体" pitchFamily="49" charset="-122"/>
              </a:rPr>
              <a:t>美团</a:t>
            </a:r>
            <a:endParaRPr lang="en-US" altLang="zh-CN" sz="3200">
              <a:latin typeface="黑体" pitchFamily="49" charset="-122"/>
              <a:ea typeface="黑体" pitchFamily="49" charset="-122"/>
            </a:endParaRPr>
          </a:p>
          <a:p>
            <a:pPr indent="12700" algn="ctr"/>
            <a:r>
              <a:rPr lang="zh-CN" altLang="en-US" sz="3200">
                <a:latin typeface="黑体" pitchFamily="49" charset="-122"/>
                <a:ea typeface="黑体" pitchFamily="49" charset="-122"/>
              </a:rPr>
              <a:t>占据特性“快”</a:t>
            </a:r>
            <a:endParaRPr lang="zh-CN" altLang="zh-CN" sz="3200">
              <a:latin typeface="黑体" pitchFamily="49" charset="-122"/>
              <a:ea typeface="黑体" pitchFamily="49" charset="-122"/>
            </a:endParaRPr>
          </a:p>
        </p:txBody>
      </p:sp>
      <p:grpSp>
        <p:nvGrpSpPr>
          <p:cNvPr id="65541" name="组 12"/>
          <p:cNvGrpSpPr>
            <a:grpSpLocks/>
          </p:cNvGrpSpPr>
          <p:nvPr/>
        </p:nvGrpSpPr>
        <p:grpSpPr bwMode="auto">
          <a:xfrm>
            <a:off x="2208213" y="1944688"/>
            <a:ext cx="3263900" cy="4313237"/>
            <a:chOff x="3443173" y="1277027"/>
            <a:chExt cx="2448272" cy="3234653"/>
          </a:xfrm>
        </p:grpSpPr>
        <p:pic>
          <p:nvPicPr>
            <p:cNvPr id="65542" name="图片 8"/>
            <p:cNvPicPr>
              <a:picLocks noChangeAspect="1"/>
            </p:cNvPicPr>
            <p:nvPr/>
          </p:nvPicPr>
          <p:blipFill>
            <a:blip r:embed="rId3"/>
            <a:srcRect/>
            <a:stretch>
              <a:fillRect/>
            </a:stretch>
          </p:blipFill>
          <p:spPr bwMode="auto">
            <a:xfrm>
              <a:off x="3443173" y="1277027"/>
              <a:ext cx="2448272" cy="3234653"/>
            </a:xfrm>
            <a:prstGeom prst="rect">
              <a:avLst/>
            </a:prstGeom>
            <a:noFill/>
            <a:ln w="9525">
              <a:noFill/>
              <a:miter lim="800000"/>
              <a:headEnd/>
              <a:tailEnd/>
            </a:ln>
          </p:spPr>
        </p:pic>
        <p:pic>
          <p:nvPicPr>
            <p:cNvPr id="65543" name="图片 9"/>
            <p:cNvPicPr>
              <a:picLocks noChangeAspect="1"/>
            </p:cNvPicPr>
            <p:nvPr/>
          </p:nvPicPr>
          <p:blipFill>
            <a:blip r:embed="rId4"/>
            <a:srcRect/>
            <a:stretch>
              <a:fillRect/>
            </a:stretch>
          </p:blipFill>
          <p:spPr bwMode="auto">
            <a:xfrm>
              <a:off x="3587189" y="1431826"/>
              <a:ext cx="2160240" cy="2944596"/>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标题 1"/>
          <p:cNvSpPr>
            <a:spLocks noGrp="1"/>
          </p:cNvSpPr>
          <p:nvPr>
            <p:ph type="title"/>
          </p:nvPr>
        </p:nvSpPr>
        <p:spPr bwMode="auto">
          <a:xfrm>
            <a:off x="431800" y="280988"/>
            <a:ext cx="10367963" cy="1143000"/>
          </a:xfrm>
          <a:noFill/>
          <a:ln>
            <a:miter lim="800000"/>
            <a:headEnd/>
            <a:tailEnd/>
          </a:ln>
        </p:spPr>
        <p:txBody>
          <a:bodyPr vert="horz" wrap="square" lIns="121917" tIns="60958" rIns="121917" bIns="60958" numCol="1" anchor="t" anchorCtr="0" compatLnSpc="1">
            <a:prstTxWarp prst="textNoShape">
              <a:avLst/>
            </a:prstTxWarp>
          </a:bodyPr>
          <a:lstStyle/>
          <a:p>
            <a:r>
              <a:rPr lang="zh-CN" altLang="en-US" sz="4300" smtClean="0"/>
              <a:t>订单数与销量，客单价齐涨</a:t>
            </a:r>
          </a:p>
        </p:txBody>
      </p:sp>
      <p:sp>
        <p:nvSpPr>
          <p:cNvPr id="67586" name="文本框 4"/>
          <p:cNvSpPr txBox="1">
            <a:spLocks noChangeArrowheads="1"/>
          </p:cNvSpPr>
          <p:nvPr/>
        </p:nvSpPr>
        <p:spPr bwMode="auto">
          <a:xfrm>
            <a:off x="5303838" y="1701800"/>
            <a:ext cx="6477000" cy="730250"/>
          </a:xfrm>
          <a:prstGeom prst="rect">
            <a:avLst/>
          </a:prstGeom>
          <a:noFill/>
          <a:ln w="9525">
            <a:noFill/>
            <a:miter lim="800000"/>
            <a:headEnd/>
            <a:tailEnd/>
          </a:ln>
        </p:spPr>
        <p:txBody>
          <a:bodyPr lIns="91438" tIns="45719" rIns="91438" bIns="45719">
            <a:spAutoFit/>
          </a:bodyPr>
          <a:lstStyle/>
          <a:p>
            <a:pPr marL="301625" indent="-301625" defTabSz="966788">
              <a:lnSpc>
                <a:spcPct val="150000"/>
              </a:lnSpc>
              <a:buFont typeface="Wingdings" pitchFamily="2" charset="2"/>
              <a:buChar char="Ø"/>
            </a:pPr>
            <a:r>
              <a:rPr lang="zh-CN" altLang="en-US" sz="2400">
                <a:solidFill>
                  <a:srgbClr val="262626"/>
                </a:solidFill>
                <a:latin typeface="微软雅黑" pitchFamily="34" charset="-122"/>
                <a:ea typeface="微软雅黑" pitchFamily="34" charset="-122"/>
              </a:rPr>
              <a:t>日订单量：由</a:t>
            </a:r>
            <a:r>
              <a:rPr lang="en-US" altLang="zh-CN" sz="2400">
                <a:solidFill>
                  <a:srgbClr val="262626"/>
                </a:solidFill>
                <a:latin typeface="Impact" pitchFamily="34" charset="0"/>
                <a:ea typeface="微软雅黑" pitchFamily="34" charset="-122"/>
              </a:rPr>
              <a:t>300</a:t>
            </a:r>
            <a:r>
              <a:rPr lang="zh-CN" altLang="en-US" sz="2400">
                <a:solidFill>
                  <a:srgbClr val="262626"/>
                </a:solidFill>
                <a:latin typeface="微软雅黑" pitchFamily="34" charset="-122"/>
                <a:ea typeface="微软雅黑" pitchFamily="34" charset="-122"/>
              </a:rPr>
              <a:t>万增至</a:t>
            </a:r>
            <a:r>
              <a:rPr lang="en-US" altLang="zh-CN" sz="3200">
                <a:solidFill>
                  <a:srgbClr val="FF0000"/>
                </a:solidFill>
                <a:latin typeface="Impact" pitchFamily="34" charset="0"/>
                <a:ea typeface="微软雅黑" pitchFamily="34" charset="-122"/>
              </a:rPr>
              <a:t>500</a:t>
            </a:r>
            <a:r>
              <a:rPr lang="zh-CN" altLang="en-US" sz="2400">
                <a:solidFill>
                  <a:srgbClr val="262626"/>
                </a:solidFill>
                <a:latin typeface="微软雅黑" pitchFamily="34" charset="-122"/>
                <a:ea typeface="微软雅黑" pitchFamily="34" charset="-122"/>
              </a:rPr>
              <a:t>万单</a:t>
            </a:r>
            <a:endParaRPr lang="en-US" altLang="zh-CN" sz="2400">
              <a:solidFill>
                <a:srgbClr val="FF0000"/>
              </a:solidFill>
              <a:latin typeface="Impact" pitchFamily="34" charset="0"/>
              <a:ea typeface="微软雅黑" pitchFamily="34" charset="-122"/>
            </a:endParaRPr>
          </a:p>
        </p:txBody>
      </p:sp>
      <p:sp>
        <p:nvSpPr>
          <p:cNvPr id="67587" name="五边形 13"/>
          <p:cNvSpPr>
            <a:spLocks noChangeArrowheads="1"/>
          </p:cNvSpPr>
          <p:nvPr/>
        </p:nvSpPr>
        <p:spPr bwMode="auto">
          <a:xfrm>
            <a:off x="1666875" y="1557338"/>
            <a:ext cx="3049588" cy="1143000"/>
          </a:xfrm>
          <a:prstGeom prst="homePlate">
            <a:avLst>
              <a:gd name="adj" fmla="val 50026"/>
            </a:avLst>
          </a:prstGeom>
          <a:solidFill>
            <a:srgbClr val="00B0F0"/>
          </a:solidFill>
          <a:ln w="9525">
            <a:noFill/>
            <a:miter lim="800000"/>
            <a:headEnd/>
            <a:tailEnd/>
          </a:ln>
        </p:spPr>
        <p:txBody>
          <a:bodyPr lIns="96768" tIns="48385" rIns="96768" bIns="48385" anchor="ctr"/>
          <a:lstStyle/>
          <a:p>
            <a:pPr algn="ctr" defTabSz="966788">
              <a:lnSpc>
                <a:spcPct val="130000"/>
              </a:lnSpc>
            </a:pPr>
            <a:r>
              <a:rPr lang="en-US" altLang="zh-CN" sz="2500" b="1">
                <a:solidFill>
                  <a:srgbClr val="FFFFFF"/>
                </a:solidFill>
                <a:latin typeface="微软雅黑" pitchFamily="34" charset="-122"/>
                <a:ea typeface="微软雅黑" pitchFamily="34" charset="-122"/>
              </a:rPr>
              <a:t>7</a:t>
            </a:r>
            <a:r>
              <a:rPr lang="zh-CN" altLang="en-US" sz="2500" b="1">
                <a:solidFill>
                  <a:srgbClr val="FFFFFF"/>
                </a:solidFill>
                <a:latin typeface="微软雅黑" pitchFamily="34" charset="-122"/>
                <a:ea typeface="微软雅黑" pitchFamily="34" charset="-122"/>
              </a:rPr>
              <a:t>月战役</a:t>
            </a:r>
          </a:p>
        </p:txBody>
      </p:sp>
      <p:sp>
        <p:nvSpPr>
          <p:cNvPr id="67588" name="五边形 14"/>
          <p:cNvSpPr>
            <a:spLocks noChangeArrowheads="1"/>
          </p:cNvSpPr>
          <p:nvPr/>
        </p:nvSpPr>
        <p:spPr bwMode="auto">
          <a:xfrm>
            <a:off x="1739900" y="3317875"/>
            <a:ext cx="3048000" cy="1143000"/>
          </a:xfrm>
          <a:prstGeom prst="homePlate">
            <a:avLst>
              <a:gd name="adj" fmla="val 50000"/>
            </a:avLst>
          </a:prstGeom>
          <a:solidFill>
            <a:srgbClr val="00B0F0"/>
          </a:solidFill>
          <a:ln w="9525">
            <a:noFill/>
            <a:miter lim="800000"/>
            <a:headEnd/>
            <a:tailEnd/>
          </a:ln>
        </p:spPr>
        <p:txBody>
          <a:bodyPr lIns="96768" tIns="48385" rIns="96768" bIns="48385" anchor="ctr"/>
          <a:lstStyle/>
          <a:p>
            <a:pPr algn="ctr" defTabSz="966788">
              <a:lnSpc>
                <a:spcPct val="130000"/>
              </a:lnSpc>
            </a:pPr>
            <a:r>
              <a:rPr lang="en-US" altLang="zh-CN" sz="2500" b="1">
                <a:solidFill>
                  <a:srgbClr val="FFFFFF"/>
                </a:solidFill>
                <a:latin typeface="微软雅黑" pitchFamily="34" charset="-122"/>
                <a:ea typeface="微软雅黑" pitchFamily="34" charset="-122"/>
              </a:rPr>
              <a:t>12</a:t>
            </a:r>
            <a:r>
              <a:rPr lang="zh-CN" altLang="en-US" sz="2500" b="1">
                <a:solidFill>
                  <a:srgbClr val="FFFFFF"/>
                </a:solidFill>
                <a:latin typeface="微软雅黑" pitchFamily="34" charset="-122"/>
                <a:ea typeface="微软雅黑" pitchFamily="34" charset="-122"/>
              </a:rPr>
              <a:t>月战役</a:t>
            </a:r>
          </a:p>
        </p:txBody>
      </p:sp>
      <p:sp>
        <p:nvSpPr>
          <p:cNvPr id="16" name="文本框 4"/>
          <p:cNvSpPr txBox="1"/>
          <p:nvPr/>
        </p:nvSpPr>
        <p:spPr>
          <a:xfrm>
            <a:off x="5448300" y="3302000"/>
            <a:ext cx="5795963" cy="3386138"/>
          </a:xfrm>
          <a:prstGeom prst="rect">
            <a:avLst/>
          </a:prstGeom>
          <a:noFill/>
        </p:spPr>
        <p:txBody>
          <a:bodyPr lIns="91438" tIns="45719" rIns="91438" bIns="45719">
            <a:spAutoFit/>
          </a:bodyPr>
          <a:lstStyle/>
          <a:p>
            <a:pPr marL="302402" indent="-302402" defTabSz="967686">
              <a:lnSpc>
                <a:spcPct val="200000"/>
              </a:lnSpc>
              <a:buFont typeface="Wingdings" panose="05000000000000000000" pitchFamily="2" charset="2"/>
              <a:buChar char="Ø"/>
              <a:defRPr/>
            </a:pPr>
            <a:r>
              <a:rPr lang="zh-CN" altLang="en-US" sz="2400" dirty="0">
                <a:solidFill>
                  <a:prstClr val="black">
                    <a:lumMod val="85000"/>
                    <a:lumOff val="15000"/>
                  </a:prstClr>
                </a:solidFill>
                <a:latin typeface="微软雅黑" panose="020B0503020204020204" pitchFamily="34" charset="-122"/>
                <a:ea typeface="微软雅黑" panose="020B0503020204020204" pitchFamily="34" charset="-122"/>
              </a:rPr>
              <a:t>日订单量：由</a:t>
            </a:r>
            <a:r>
              <a:rPr lang="en-US" altLang="zh-CN" sz="2400" dirty="0">
                <a:solidFill>
                  <a:prstClr val="black">
                    <a:lumMod val="85000"/>
                    <a:lumOff val="15000"/>
                  </a:prstClr>
                </a:solidFill>
                <a:latin typeface="Impact" panose="020B0806030902050204" pitchFamily="34" charset="0"/>
                <a:ea typeface="微软雅黑" panose="020B0503020204020204" pitchFamily="34" charset="-122"/>
              </a:rPr>
              <a:t>700</a:t>
            </a:r>
            <a:r>
              <a:rPr lang="zh-CN" altLang="en-US" sz="2400" dirty="0">
                <a:solidFill>
                  <a:prstClr val="black">
                    <a:lumMod val="85000"/>
                    <a:lumOff val="15000"/>
                  </a:prstClr>
                </a:solidFill>
                <a:latin typeface="微软雅黑" panose="020B0503020204020204" pitchFamily="34" charset="-122"/>
                <a:ea typeface="微软雅黑" panose="020B0503020204020204" pitchFamily="34" charset="-122"/>
              </a:rPr>
              <a:t>万</a:t>
            </a:r>
            <a:r>
              <a:rPr lang="zh-CN" altLang="en-US" sz="2400" dirty="0">
                <a:solidFill>
                  <a:prstClr val="black">
                    <a:lumMod val="85000"/>
                    <a:lumOff val="15000"/>
                  </a:prstClr>
                </a:solidFill>
                <a:latin typeface="微软雅黑" panose="020B0503020204020204" pitchFamily="34" charset="-122"/>
                <a:ea typeface="微软雅黑" panose="020B0503020204020204" pitchFamily="34" charset="-122"/>
              </a:rPr>
              <a:t>增至</a:t>
            </a:r>
            <a:r>
              <a:rPr lang="en-US" altLang="zh-CN" sz="3200" dirty="0">
                <a:solidFill>
                  <a:srgbClr val="FF0000"/>
                </a:solidFill>
                <a:latin typeface="Impact" panose="020B0806030902050204" pitchFamily="34" charset="0"/>
                <a:ea typeface="微软雅黑" panose="020B0503020204020204" pitchFamily="34" charset="-122"/>
              </a:rPr>
              <a:t>950</a:t>
            </a:r>
            <a:r>
              <a:rPr lang="zh-CN" altLang="en-US" sz="2400" dirty="0">
                <a:solidFill>
                  <a:prstClr val="black">
                    <a:lumMod val="85000"/>
                    <a:lumOff val="15000"/>
                  </a:prstClr>
                </a:solidFill>
                <a:latin typeface="微软雅黑" panose="020B0503020204020204" pitchFamily="34" charset="-122"/>
                <a:ea typeface="微软雅黑" panose="020B0503020204020204" pitchFamily="34" charset="-122"/>
              </a:rPr>
              <a:t>万单</a:t>
            </a:r>
            <a:endParaRPr lang="en-US" altLang="zh-CN" sz="2400" dirty="0">
              <a:solidFill>
                <a:prstClr val="black">
                  <a:lumMod val="85000"/>
                  <a:lumOff val="15000"/>
                </a:prstClr>
              </a:solidFill>
              <a:latin typeface="微软雅黑" panose="020B0503020204020204" pitchFamily="34" charset="-122"/>
              <a:ea typeface="微软雅黑" panose="020B0503020204020204" pitchFamily="34" charset="-122"/>
            </a:endParaRPr>
          </a:p>
          <a:p>
            <a:pPr defTabSz="967686">
              <a:lnSpc>
                <a:spcPct val="200000"/>
              </a:lnSpc>
              <a:defRPr/>
            </a:pPr>
            <a:endParaRPr lang="en-US" altLang="zh-CN" sz="2400" dirty="0">
              <a:solidFill>
                <a:prstClr val="black">
                  <a:lumMod val="85000"/>
                  <a:lumOff val="15000"/>
                </a:prstClr>
              </a:solidFill>
              <a:latin typeface="微软雅黑" panose="020B0503020204020204" pitchFamily="34" charset="-122"/>
              <a:ea typeface="微软雅黑" panose="020B0503020204020204" pitchFamily="34" charset="-122"/>
            </a:endParaRPr>
          </a:p>
          <a:p>
            <a:pPr marL="302402" indent="-302402" defTabSz="967686">
              <a:lnSpc>
                <a:spcPct val="200000"/>
              </a:lnSpc>
              <a:buFont typeface="Wingdings" panose="05000000000000000000" pitchFamily="2" charset="2"/>
              <a:buChar char="Ø"/>
              <a:defRPr/>
            </a:pPr>
            <a:r>
              <a:rPr lang="zh-CN" altLang="en-US" sz="2800" dirty="0">
                <a:solidFill>
                  <a:prstClr val="black">
                    <a:lumMod val="85000"/>
                    <a:lumOff val="15000"/>
                  </a:prstClr>
                </a:solidFill>
                <a:latin typeface="微软雅黑" panose="020B0503020204020204" pitchFamily="34" charset="-122"/>
                <a:ea typeface="微软雅黑" panose="020B0503020204020204" pitchFamily="34" charset="-122"/>
              </a:rPr>
              <a:t>客单价：全国客单价上涨</a:t>
            </a:r>
            <a:r>
              <a:rPr lang="en-US" altLang="zh-CN" sz="3200" dirty="0">
                <a:solidFill>
                  <a:srgbClr val="FF0000"/>
                </a:solidFill>
                <a:latin typeface="Impact" panose="020B0806030902050204" pitchFamily="34" charset="0"/>
                <a:ea typeface="微软雅黑" panose="020B0503020204020204" pitchFamily="34" charset="-122"/>
              </a:rPr>
              <a:t>20%</a:t>
            </a:r>
          </a:p>
          <a:p>
            <a:pPr defTabSz="967686">
              <a:lnSpc>
                <a:spcPct val="200000"/>
              </a:lnSpc>
              <a:defRPr/>
            </a:pPr>
            <a:endParaRPr lang="en-US" altLang="zh-CN" sz="1900" dirty="0">
              <a:solidFill>
                <a:srgbClr val="FF0000"/>
              </a:solidFill>
              <a:latin typeface="Impact" panose="020B0806030902050204" pitchFamily="34" charset="0"/>
              <a:ea typeface="微软雅黑" panose="020B0503020204020204" pitchFamily="34" charset="-122"/>
            </a:endParaRPr>
          </a:p>
        </p:txBody>
      </p:sp>
      <p:sp>
        <p:nvSpPr>
          <p:cNvPr id="67590" name="五边形 7"/>
          <p:cNvSpPr>
            <a:spLocks noChangeArrowheads="1"/>
          </p:cNvSpPr>
          <p:nvPr/>
        </p:nvSpPr>
        <p:spPr bwMode="auto">
          <a:xfrm>
            <a:off x="1739900" y="5165725"/>
            <a:ext cx="3048000" cy="1143000"/>
          </a:xfrm>
          <a:prstGeom prst="homePlate">
            <a:avLst>
              <a:gd name="adj" fmla="val 50000"/>
            </a:avLst>
          </a:prstGeom>
          <a:solidFill>
            <a:srgbClr val="00B0F0"/>
          </a:solidFill>
          <a:ln w="9525">
            <a:noFill/>
            <a:miter lim="800000"/>
            <a:headEnd/>
            <a:tailEnd/>
          </a:ln>
        </p:spPr>
        <p:txBody>
          <a:bodyPr lIns="96768" tIns="48385" rIns="96768" bIns="48385" anchor="ctr"/>
          <a:lstStyle/>
          <a:p>
            <a:pPr algn="ctr" defTabSz="966788">
              <a:lnSpc>
                <a:spcPct val="130000"/>
              </a:lnSpc>
            </a:pPr>
            <a:r>
              <a:rPr lang="en-US" altLang="zh-CN" sz="2500" b="1">
                <a:solidFill>
                  <a:srgbClr val="FFFFFF"/>
                </a:solidFill>
                <a:latin typeface="微软雅黑" pitchFamily="34" charset="-122"/>
                <a:ea typeface="微软雅黑" pitchFamily="34" charset="-122"/>
              </a:rPr>
              <a:t>12</a:t>
            </a:r>
            <a:r>
              <a:rPr lang="zh-CN" altLang="en-US" sz="2500" b="1">
                <a:solidFill>
                  <a:srgbClr val="FFFFFF"/>
                </a:solidFill>
                <a:latin typeface="微软雅黑" pitchFamily="34" charset="-122"/>
                <a:ea typeface="微软雅黑" pitchFamily="34" charset="-122"/>
              </a:rPr>
              <a:t>月战役</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Footer Placeholder 7"/>
          <p:cNvSpPr>
            <a:spLocks noGrp="1"/>
          </p:cNvSpPr>
          <p:nvPr>
            <p:ph type="ftr" sz="quarter" idx="4294967295"/>
          </p:nvPr>
        </p:nvSpPr>
        <p:spPr bwMode="auto">
          <a:xfrm>
            <a:off x="7321550" y="6438900"/>
            <a:ext cx="4822825" cy="365125"/>
          </a:xfrm>
          <a:prstGeom prst="rect">
            <a:avLst/>
          </a:prstGeom>
          <a:noFill/>
          <a:ln>
            <a:miter lim="800000"/>
            <a:headEnd/>
            <a:tailEnd/>
          </a:ln>
        </p:spPr>
        <p:txBody>
          <a:bodyPr/>
          <a:lstStyle/>
          <a:p>
            <a:pPr algn="r"/>
            <a:endParaRPr lang="en-US" altLang="zh-CN" sz="1400">
              <a:solidFill>
                <a:srgbClr val="FFFFFF"/>
              </a:solidFill>
              <a:latin typeface="华文隶书"/>
              <a:ea typeface="华文隶书"/>
              <a:cs typeface="华文隶书"/>
            </a:endParaRPr>
          </a:p>
        </p:txBody>
      </p:sp>
      <p:sp>
        <p:nvSpPr>
          <p:cNvPr id="68610" name="矩形 3"/>
          <p:cNvSpPr>
            <a:spLocks noChangeArrowheads="1"/>
          </p:cNvSpPr>
          <p:nvPr/>
        </p:nvSpPr>
        <p:spPr bwMode="auto">
          <a:xfrm>
            <a:off x="1120775" y="663575"/>
            <a:ext cx="10379075" cy="5016500"/>
          </a:xfrm>
          <a:prstGeom prst="rect">
            <a:avLst/>
          </a:prstGeom>
          <a:noFill/>
          <a:ln w="9525">
            <a:noFill/>
            <a:miter lim="800000"/>
            <a:headEnd/>
            <a:tailEnd/>
          </a:ln>
        </p:spPr>
        <p:txBody>
          <a:bodyPr>
            <a:spAutoFit/>
          </a:bodyPr>
          <a:lstStyle/>
          <a:p>
            <a:r>
              <a:rPr lang="zh-CN" altLang="en-US" sz="4000" b="1">
                <a:solidFill>
                  <a:srgbClr val="FF0000"/>
                </a:solidFill>
                <a:latin typeface="Calibri Light"/>
                <a:ea typeface="微软雅黑" pitchFamily="34" charset="-122"/>
              </a:rPr>
              <a:t>特性从哪里找：要借力打力。</a:t>
            </a:r>
            <a:endParaRPr lang="en-US" altLang="zh-CN" sz="4000" b="1">
              <a:solidFill>
                <a:srgbClr val="FF0000"/>
              </a:solidFill>
              <a:latin typeface="Calibri Light"/>
              <a:ea typeface="微软雅黑" pitchFamily="34" charset="-122"/>
            </a:endParaRPr>
          </a:p>
          <a:p>
            <a:endParaRPr lang="en-US" altLang="zh-CN" sz="4000" b="1">
              <a:solidFill>
                <a:srgbClr val="FF0000"/>
              </a:solidFill>
              <a:latin typeface="Calibri Light"/>
              <a:ea typeface="微软雅黑" pitchFamily="34" charset="-122"/>
            </a:endParaRPr>
          </a:p>
          <a:p>
            <a:pPr>
              <a:lnSpc>
                <a:spcPct val="200000"/>
              </a:lnSpc>
            </a:pPr>
            <a:r>
              <a:rPr lang="zh-CN" altLang="en-US" sz="2000">
                <a:latin typeface="Calibri Light"/>
                <a:ea typeface="微软雅黑" pitchFamily="34" charset="-122"/>
              </a:rPr>
              <a:t>可口可乐百年传承，百事可乐就讲新一代的选择。把百年传承当作弱点。</a:t>
            </a:r>
            <a:endParaRPr lang="en-US" altLang="zh-CN" sz="2000">
              <a:latin typeface="Calibri Light"/>
              <a:ea typeface="微软雅黑" pitchFamily="34" charset="-122"/>
            </a:endParaRPr>
          </a:p>
          <a:p>
            <a:pPr>
              <a:lnSpc>
                <a:spcPct val="200000"/>
              </a:lnSpc>
            </a:pPr>
            <a:r>
              <a:rPr lang="zh-CN" altLang="en-US" sz="2000">
                <a:latin typeface="Calibri Light"/>
                <a:ea typeface="微软雅黑" pitchFamily="34" charset="-122"/>
              </a:rPr>
              <a:t>可口可乐应该对百事一代说：当你们准备要正宗货时，我们这儿有。把百事打入仿冒货</a:t>
            </a:r>
            <a:endParaRPr lang="en-US" altLang="zh-CN" sz="2000">
              <a:latin typeface="Calibri Light"/>
              <a:ea typeface="微软雅黑" pitchFamily="34" charset="-122"/>
            </a:endParaRPr>
          </a:p>
          <a:p>
            <a:pPr>
              <a:lnSpc>
                <a:spcPct val="200000"/>
              </a:lnSpc>
            </a:pPr>
            <a:r>
              <a:rPr lang="zh-CN" altLang="en-US" sz="2000">
                <a:latin typeface="Calibri Light"/>
                <a:ea typeface="微软雅黑" pitchFamily="34" charset="-122"/>
              </a:rPr>
              <a:t>大众汽车［第一款小型汽车］别的小车再粉饰空间小的弱点。</a:t>
            </a:r>
            <a:endParaRPr lang="en-US" altLang="zh-CN" sz="2000">
              <a:latin typeface="Calibri Light"/>
              <a:ea typeface="微软雅黑" pitchFamily="34" charset="-122"/>
            </a:endParaRPr>
          </a:p>
          <a:p>
            <a:pPr>
              <a:lnSpc>
                <a:spcPct val="200000"/>
              </a:lnSpc>
            </a:pPr>
            <a:r>
              <a:rPr lang="zh-CN" altLang="en-US" sz="2000">
                <a:latin typeface="Calibri Light"/>
                <a:ea typeface="微软雅黑" pitchFamily="34" charset="-122"/>
              </a:rPr>
              <a:t>大众让你</a:t>
            </a:r>
            <a:r>
              <a:rPr lang="en-US" altLang="zh-CN" sz="2000">
                <a:latin typeface="Calibri Light"/>
                <a:ea typeface="微软雅黑" pitchFamily="34" charset="-122"/>
              </a:rPr>
              <a:t>【think small】</a:t>
            </a:r>
            <a:r>
              <a:rPr lang="zh-CN" altLang="en-US" sz="2000">
                <a:latin typeface="Calibri Light"/>
                <a:ea typeface="微软雅黑" pitchFamily="34" charset="-122"/>
              </a:rPr>
              <a:t>想想还是小的好。</a:t>
            </a:r>
            <a:endParaRPr lang="en-US" altLang="zh-CN" sz="2000">
              <a:latin typeface="Calibri Light"/>
              <a:ea typeface="微软雅黑" pitchFamily="34" charset="-122"/>
            </a:endParaRPr>
          </a:p>
          <a:p>
            <a:pPr>
              <a:lnSpc>
                <a:spcPct val="200000"/>
              </a:lnSpc>
            </a:pPr>
            <a:r>
              <a:rPr lang="zh-CN" altLang="en-US" sz="2000">
                <a:latin typeface="Calibri Light"/>
                <a:ea typeface="微软雅黑" pitchFamily="34" charset="-122"/>
              </a:rPr>
              <a:t>广告要从竞争战略出发，要针锋相对</a:t>
            </a:r>
            <a:endParaRPr lang="en-US" altLang="zh-CN" sz="2000">
              <a:latin typeface="Calibri Light"/>
              <a:ea typeface="微软雅黑" pitchFamily="34" charset="-122"/>
            </a:endParaRPr>
          </a:p>
          <a:p>
            <a:pPr>
              <a:lnSpc>
                <a:spcPct val="200000"/>
              </a:lnSpc>
            </a:pPr>
            <a:r>
              <a:rPr lang="zh-CN" altLang="en-US" sz="2000">
                <a:latin typeface="Calibri Light"/>
                <a:ea typeface="微软雅黑" pitchFamily="34" charset="-122"/>
              </a:rPr>
              <a:t>（如滴滴共享</a:t>
            </a:r>
            <a:r>
              <a:rPr lang="en-US" altLang="zh-CN" sz="2000">
                <a:latin typeface="Calibri Light"/>
                <a:ea typeface="微软雅黑" pitchFamily="34" charset="-122"/>
              </a:rPr>
              <a:t>VS</a:t>
            </a:r>
            <a:r>
              <a:rPr lang="zh-CN" altLang="en-US" sz="2000">
                <a:latin typeface="Calibri Light"/>
                <a:ea typeface="微软雅黑" pitchFamily="34" charset="-122"/>
              </a:rPr>
              <a:t>神卅安全。如二手车之战）</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Footer Placeholder 7"/>
          <p:cNvSpPr>
            <a:spLocks noGrp="1"/>
          </p:cNvSpPr>
          <p:nvPr>
            <p:ph type="ftr" sz="quarter" idx="4294967295"/>
          </p:nvPr>
        </p:nvSpPr>
        <p:spPr bwMode="auto">
          <a:xfrm>
            <a:off x="7321550" y="6438900"/>
            <a:ext cx="4822825" cy="365125"/>
          </a:xfrm>
          <a:prstGeom prst="rect">
            <a:avLst/>
          </a:prstGeom>
          <a:noFill/>
          <a:ln>
            <a:miter lim="800000"/>
            <a:headEnd/>
            <a:tailEnd/>
          </a:ln>
        </p:spPr>
        <p:txBody>
          <a:bodyPr/>
          <a:lstStyle/>
          <a:p>
            <a:pPr algn="r"/>
            <a:endParaRPr lang="en-US" altLang="zh-CN" sz="1400">
              <a:solidFill>
                <a:srgbClr val="FFFFFF"/>
              </a:solidFill>
              <a:latin typeface="华文隶书"/>
              <a:ea typeface="华文隶书"/>
              <a:cs typeface="华文隶书"/>
            </a:endParaRPr>
          </a:p>
        </p:txBody>
      </p:sp>
      <p:sp>
        <p:nvSpPr>
          <p:cNvPr id="69634" name="矩形 1"/>
          <p:cNvSpPr>
            <a:spLocks noChangeArrowheads="1"/>
          </p:cNvSpPr>
          <p:nvPr/>
        </p:nvSpPr>
        <p:spPr bwMode="auto">
          <a:xfrm>
            <a:off x="1343025" y="657225"/>
            <a:ext cx="9315450" cy="5138738"/>
          </a:xfrm>
          <a:prstGeom prst="rect">
            <a:avLst/>
          </a:prstGeom>
          <a:noFill/>
          <a:ln w="9525">
            <a:noFill/>
            <a:miter lim="800000"/>
            <a:headEnd/>
            <a:tailEnd/>
          </a:ln>
        </p:spPr>
        <p:txBody>
          <a:bodyPr>
            <a:spAutoFit/>
          </a:bodyPr>
          <a:lstStyle/>
          <a:p>
            <a:pPr>
              <a:lnSpc>
                <a:spcPct val="150000"/>
              </a:lnSpc>
            </a:pPr>
            <a:r>
              <a:rPr lang="zh-CN" altLang="en-US" sz="4000" b="1">
                <a:solidFill>
                  <a:srgbClr val="FF0000"/>
                </a:solidFill>
                <a:latin typeface="Calibri Light"/>
                <a:ea typeface="微软雅黑" pitchFamily="34" charset="-122"/>
              </a:rPr>
              <a:t>营销成功的关键：与对手相反走。</a:t>
            </a:r>
            <a:endParaRPr lang="en-US" altLang="zh-CN" sz="4000" b="1">
              <a:solidFill>
                <a:srgbClr val="FF0000"/>
              </a:solidFill>
              <a:latin typeface="Calibri Light"/>
              <a:ea typeface="微软雅黑" pitchFamily="34" charset="-122"/>
            </a:endParaRPr>
          </a:p>
          <a:p>
            <a:pPr>
              <a:lnSpc>
                <a:spcPct val="150000"/>
              </a:lnSpc>
            </a:pPr>
            <a:endParaRPr lang="en-US" altLang="zh-CN" sz="4000" b="1">
              <a:solidFill>
                <a:srgbClr val="FF0000"/>
              </a:solidFill>
              <a:latin typeface="Calibri Light"/>
              <a:ea typeface="微软雅黑" pitchFamily="34" charset="-122"/>
            </a:endParaRPr>
          </a:p>
          <a:p>
            <a:pPr>
              <a:lnSpc>
                <a:spcPct val="200000"/>
              </a:lnSpc>
            </a:pPr>
            <a:r>
              <a:rPr lang="zh-CN" altLang="en-US" sz="2800">
                <a:latin typeface="Calibri Light"/>
                <a:ea typeface="微软雅黑" pitchFamily="34" charset="-122"/>
              </a:rPr>
              <a:t>哥伦布是一个伟大的航海家，选择往西而非往东，</a:t>
            </a:r>
            <a:endParaRPr lang="en-US" altLang="zh-CN" sz="2800">
              <a:latin typeface="Calibri Light"/>
              <a:ea typeface="微软雅黑" pitchFamily="34" charset="-122"/>
            </a:endParaRPr>
          </a:p>
          <a:p>
            <a:pPr>
              <a:lnSpc>
                <a:spcPct val="200000"/>
              </a:lnSpc>
            </a:pPr>
            <a:r>
              <a:rPr lang="zh-CN" altLang="en-US" sz="2800">
                <a:latin typeface="Calibri Light"/>
                <a:ea typeface="微软雅黑" pitchFamily="34" charset="-122"/>
              </a:rPr>
              <a:t>没有到达印度却发现了新大陆，不管向西走发现了什么，</a:t>
            </a:r>
            <a:r>
              <a:rPr lang="zh-CN" altLang="en-US" sz="4800">
                <a:latin typeface="Calibri Light"/>
                <a:ea typeface="微软雅黑" pitchFamily="34" charset="-122"/>
              </a:rPr>
              <a:t>哥伦布都是第一个发现的</a:t>
            </a:r>
            <a:r>
              <a:rPr lang="zh-CN" altLang="en-US" sz="2800">
                <a:latin typeface="Calibri Light"/>
                <a:ea typeface="微软雅黑" pitchFamily="34" charset="-122"/>
              </a:rPr>
              <a:t>。</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063ED287-BB23-4BBD-88BF-2CDF7843EA81}" type="slidenum">
              <a:rPr lang="zh-CN" altLang="en-US">
                <a:latin typeface="黑体" pitchFamily="49" charset="-122"/>
                <a:ea typeface="黑体" pitchFamily="49" charset="-122"/>
              </a:rPr>
              <a:pPr defTabSz="912813" fontAlgn="base">
                <a:spcBef>
                  <a:spcPct val="0"/>
                </a:spcBef>
                <a:spcAft>
                  <a:spcPct val="0"/>
                </a:spcAft>
              </a:pPr>
              <a:t>29</a:t>
            </a:fld>
            <a:endParaRPr lang="en-US" altLang="zh-CN">
              <a:latin typeface="黑体" pitchFamily="49" charset="-122"/>
              <a:ea typeface="黑体" pitchFamily="49" charset="-122"/>
            </a:endParaRPr>
          </a:p>
        </p:txBody>
      </p:sp>
      <p:sp>
        <p:nvSpPr>
          <p:cNvPr id="70658" name="副标题 5"/>
          <p:cNvSpPr txBox="1">
            <a:spLocks/>
          </p:cNvSpPr>
          <p:nvPr/>
        </p:nvSpPr>
        <p:spPr bwMode="auto">
          <a:xfrm>
            <a:off x="762000" y="1700213"/>
            <a:ext cx="10763250" cy="762000"/>
          </a:xfrm>
          <a:prstGeom prst="rect">
            <a:avLst/>
          </a:prstGeom>
          <a:noFill/>
          <a:ln w="9525">
            <a:noFill/>
            <a:miter lim="800000"/>
            <a:headEnd/>
            <a:tailEnd/>
          </a:ln>
        </p:spPr>
        <p:txBody>
          <a:bodyPr lIns="121920" tIns="60960" rIns="121920" bIns="60960"/>
          <a:lstStyle/>
          <a:p>
            <a:pPr marL="608013" indent="-608013">
              <a:spcBef>
                <a:spcPct val="20000"/>
              </a:spcBef>
              <a:buFontTx/>
              <a:buAutoNum type="arabicPeriod"/>
            </a:pPr>
            <a:endParaRPr lang="en-US" altLang="zh-CN" sz="3200" b="1">
              <a:latin typeface="黑体" pitchFamily="49" charset="-122"/>
              <a:ea typeface="黑体" pitchFamily="49" charset="-122"/>
            </a:endParaRPr>
          </a:p>
        </p:txBody>
      </p:sp>
      <p:sp>
        <p:nvSpPr>
          <p:cNvPr id="10" name="文本框 9"/>
          <p:cNvSpPr txBox="1"/>
          <p:nvPr/>
        </p:nvSpPr>
        <p:spPr>
          <a:xfrm>
            <a:off x="4656138" y="2174875"/>
            <a:ext cx="2928937" cy="912813"/>
          </a:xfrm>
          <a:prstGeom prst="rect">
            <a:avLst/>
          </a:prstGeom>
          <a:noFill/>
        </p:spPr>
        <p:txBody>
          <a:bodyPr wrap="none">
            <a:spAutoFit/>
          </a:bodyPr>
          <a:lstStyle/>
          <a:p>
            <a:r>
              <a:rPr lang="zh-CN" altLang="en-US" sz="5300" b="1">
                <a:latin typeface="黑体" pitchFamily="49" charset="-122"/>
                <a:ea typeface="黑体" pitchFamily="49" charset="-122"/>
              </a:rPr>
              <a:t>聚焦业务</a:t>
            </a:r>
            <a:endParaRPr lang="zh-CN" altLang="zh-CN" sz="5300" b="1">
              <a:latin typeface="黑体" pitchFamily="49" charset="-122"/>
              <a:ea typeface="黑体" pitchFamily="49" charset="-122"/>
            </a:endParaRPr>
          </a:p>
        </p:txBody>
      </p:sp>
      <p:sp>
        <p:nvSpPr>
          <p:cNvPr id="70660" name="文本框 10"/>
          <p:cNvSpPr txBox="1">
            <a:spLocks noChangeArrowheads="1"/>
          </p:cNvSpPr>
          <p:nvPr/>
        </p:nvSpPr>
        <p:spPr bwMode="auto">
          <a:xfrm>
            <a:off x="1295400" y="3638550"/>
            <a:ext cx="10010775" cy="1201738"/>
          </a:xfrm>
          <a:prstGeom prst="rect">
            <a:avLst/>
          </a:prstGeom>
          <a:noFill/>
          <a:ln w="9525">
            <a:noFill/>
            <a:miter lim="800000"/>
            <a:headEnd/>
            <a:tailEnd/>
          </a:ln>
        </p:spPr>
        <p:txBody>
          <a:bodyPr>
            <a:spAutoFit/>
          </a:bodyPr>
          <a:lstStyle/>
          <a:p>
            <a:pPr indent="657225">
              <a:lnSpc>
                <a:spcPct val="150000"/>
              </a:lnSpc>
            </a:pPr>
            <a:r>
              <a:rPr kumimoji="1" lang="zh-CN" altLang="en-US" sz="2400">
                <a:latin typeface="黑体" pitchFamily="49" charset="-122"/>
                <a:ea typeface="黑体" pitchFamily="49" charset="-122"/>
              </a:rPr>
              <a:t>消费者通常认为，专注于某类业务的品牌较之通才品牌，往往拥有更多的经验和技能，因此是该业务领域的专家品牌。</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874713" y="1089025"/>
            <a:ext cx="10363200" cy="1470025"/>
          </a:xfrm>
        </p:spPr>
        <p:txBody>
          <a:bodyPr>
            <a:normAutofit fontScale="90000"/>
          </a:bodyPr>
          <a:lstStyle/>
          <a:p>
            <a:pPr algn="ctr" defTabSz="914309" fontAlgn="auto">
              <a:spcAft>
                <a:spcPts val="0"/>
              </a:spcAft>
              <a:defRPr/>
            </a:pPr>
            <a:r>
              <a:rPr lang="zh-CN" altLang="en-US" sz="4000" b="1" dirty="0" smtClean="0">
                <a:solidFill>
                  <a:srgbClr val="FF0000"/>
                </a:solidFill>
                <a:effectLst>
                  <a:outerShdw blurRad="50800" dist="38100" dir="8100000" algn="tr" rotWithShape="0">
                    <a:prstClr val="black">
                      <a:alpha val="40000"/>
                    </a:prstClr>
                  </a:outerShdw>
                </a:effectLst>
                <a:latin typeface="+mj-ea"/>
              </a:rPr>
              <a:t>中国商战的核心要素</a:t>
            </a:r>
            <a:r>
              <a:rPr lang="en-US" altLang="zh-CN" sz="4800" b="1" dirty="0">
                <a:solidFill>
                  <a:srgbClr val="FF0000"/>
                </a:solidFill>
                <a:effectLst>
                  <a:outerShdw blurRad="50800" dist="38100" dir="8100000" algn="tr" rotWithShape="0">
                    <a:prstClr val="black">
                      <a:alpha val="40000"/>
                    </a:prstClr>
                  </a:outerShdw>
                </a:effectLst>
                <a:latin typeface="+mj-ea"/>
              </a:rPr>
              <a:t/>
            </a:r>
            <a:br>
              <a:rPr lang="en-US" altLang="zh-CN" sz="4800" b="1" dirty="0">
                <a:solidFill>
                  <a:srgbClr val="FF0000"/>
                </a:solidFill>
                <a:effectLst>
                  <a:outerShdw blurRad="50800" dist="38100" dir="8100000" algn="tr" rotWithShape="0">
                    <a:prstClr val="black">
                      <a:alpha val="40000"/>
                    </a:prstClr>
                  </a:outerShdw>
                </a:effectLst>
                <a:latin typeface="+mj-ea"/>
              </a:rPr>
            </a:br>
            <a:r>
              <a:rPr lang="en-US" altLang="zh-CN" sz="4800" b="1" dirty="0" smtClean="0">
                <a:solidFill>
                  <a:srgbClr val="FF0000"/>
                </a:solidFill>
                <a:effectLst>
                  <a:outerShdw blurRad="50800" dist="38100" dir="8100000" algn="tr" rotWithShape="0">
                    <a:prstClr val="black">
                      <a:alpha val="40000"/>
                    </a:prstClr>
                  </a:outerShdw>
                </a:effectLst>
                <a:latin typeface="+mj-ea"/>
              </a:rPr>
              <a:t/>
            </a:r>
            <a:br>
              <a:rPr lang="en-US" altLang="zh-CN" sz="4800" b="1" dirty="0" smtClean="0">
                <a:solidFill>
                  <a:srgbClr val="FF0000"/>
                </a:solidFill>
                <a:effectLst>
                  <a:outerShdw blurRad="50800" dist="38100" dir="8100000" algn="tr" rotWithShape="0">
                    <a:prstClr val="black">
                      <a:alpha val="40000"/>
                    </a:prstClr>
                  </a:outerShdw>
                </a:effectLst>
                <a:latin typeface="+mj-ea"/>
              </a:rPr>
            </a:br>
            <a:r>
              <a:rPr lang="en-US" altLang="zh-CN" sz="4800" b="1" dirty="0">
                <a:solidFill>
                  <a:srgbClr val="FF0000"/>
                </a:solidFill>
                <a:effectLst>
                  <a:outerShdw blurRad="50800" dist="38100" dir="8100000" algn="tr" rotWithShape="0">
                    <a:prstClr val="black">
                      <a:alpha val="40000"/>
                    </a:prstClr>
                  </a:outerShdw>
                </a:effectLst>
                <a:latin typeface="+mj-ea"/>
              </a:rPr>
              <a:t/>
            </a:r>
            <a:br>
              <a:rPr lang="en-US" altLang="zh-CN" sz="4800" b="1" dirty="0">
                <a:solidFill>
                  <a:srgbClr val="FF0000"/>
                </a:solidFill>
                <a:effectLst>
                  <a:outerShdw blurRad="50800" dist="38100" dir="8100000" algn="tr" rotWithShape="0">
                    <a:prstClr val="black">
                      <a:alpha val="40000"/>
                    </a:prstClr>
                  </a:outerShdw>
                </a:effectLst>
                <a:latin typeface="+mj-ea"/>
              </a:rPr>
            </a:br>
            <a:r>
              <a:rPr lang="en-US" altLang="zh-CN" sz="4800" b="1" dirty="0" smtClean="0">
                <a:effectLst>
                  <a:outerShdw blurRad="50800" dist="38100" dir="8100000" algn="tr" rotWithShape="0">
                    <a:prstClr val="black">
                      <a:alpha val="40000"/>
                    </a:prstClr>
                  </a:outerShdw>
                </a:effectLst>
                <a:latin typeface="+mj-ea"/>
              </a:rPr>
              <a:t/>
            </a:r>
            <a:br>
              <a:rPr lang="en-US" altLang="zh-CN" sz="4800" b="1" dirty="0" smtClean="0">
                <a:effectLst>
                  <a:outerShdw blurRad="50800" dist="38100" dir="8100000" algn="tr" rotWithShape="0">
                    <a:prstClr val="black">
                      <a:alpha val="40000"/>
                    </a:prstClr>
                  </a:outerShdw>
                </a:effectLst>
                <a:latin typeface="+mj-ea"/>
              </a:rPr>
            </a:br>
            <a:r>
              <a:rPr lang="zh-CN" altLang="en-US" sz="4800" b="1" dirty="0" smtClean="0">
                <a:effectLst>
                  <a:outerShdw blurRad="50800" dist="38100" dir="8100000" algn="tr" rotWithShape="0">
                    <a:prstClr val="black">
                      <a:alpha val="40000"/>
                    </a:prstClr>
                  </a:outerShdw>
                </a:effectLst>
                <a:latin typeface="+mj-ea"/>
              </a:rPr>
              <a:t>生产端，渠道端，还是用户心智端</a:t>
            </a:r>
            <a:r>
              <a:rPr lang="en-US" altLang="zh-CN" sz="6700" b="1" dirty="0">
                <a:effectLst>
                  <a:outerShdw blurRad="50800" dist="38100" dir="8100000" algn="tr" rotWithShape="0">
                    <a:prstClr val="black">
                      <a:alpha val="40000"/>
                    </a:prstClr>
                  </a:outerShdw>
                </a:effectLst>
                <a:latin typeface="+mj-ea"/>
              </a:rPr>
              <a:t/>
            </a:r>
            <a:br>
              <a:rPr lang="en-US" altLang="zh-CN" sz="6700" b="1" dirty="0">
                <a:effectLst>
                  <a:outerShdw blurRad="50800" dist="38100" dir="8100000" algn="tr" rotWithShape="0">
                    <a:prstClr val="black">
                      <a:alpha val="40000"/>
                    </a:prstClr>
                  </a:outerShdw>
                </a:effectLst>
                <a:latin typeface="+mj-ea"/>
              </a:rPr>
            </a:br>
            <a:endParaRPr lang="zh-CN" altLang="en-US" sz="6700" b="1" dirty="0">
              <a:effectLst>
                <a:outerShdw blurRad="50800" dist="38100" dir="8100000" algn="tr" rotWithShape="0">
                  <a:prstClr val="black">
                    <a:alpha val="40000"/>
                  </a:prstClr>
                </a:outerShdw>
              </a:effectLst>
              <a:latin typeface="+mj-ea"/>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幻灯片编号占位符 3"/>
          <p:cNvSpPr>
            <a:spLocks noGrp="1"/>
          </p:cNvSpPr>
          <p:nvPr>
            <p:ph type="sldNum" sz="quarter" idx="4294967295"/>
          </p:nvPr>
        </p:nvSpPr>
        <p:spPr bwMode="auto">
          <a:xfrm>
            <a:off x="5135563" y="6424613"/>
            <a:ext cx="2844800" cy="365125"/>
          </a:xfrm>
          <a:prstGeom prst="rect">
            <a:avLst/>
          </a:prstGeom>
          <a:noFill/>
          <a:ln>
            <a:miter lim="800000"/>
            <a:headEnd/>
            <a:tailEnd/>
          </a:ln>
        </p:spPr>
        <p:txBody>
          <a:bodyPr/>
          <a:lstStyle/>
          <a:p>
            <a:fld id="{A634D8DC-1073-4C9D-B0A6-CEFF44AC9916}" type="slidenum">
              <a:rPr lang="zh-CN" altLang="en-US">
                <a:latin typeface="Calibri Light"/>
                <a:ea typeface="微软雅黑" pitchFamily="34" charset="-122"/>
              </a:rPr>
              <a:pPr/>
              <a:t>30</a:t>
            </a:fld>
            <a:endParaRPr lang="en-US" altLang="zh-CN">
              <a:latin typeface="Calibri Light"/>
              <a:ea typeface="微软雅黑" pitchFamily="34" charset="-122"/>
            </a:endParaRPr>
          </a:p>
        </p:txBody>
      </p:sp>
      <p:sp>
        <p:nvSpPr>
          <p:cNvPr id="8" name="副标题 5"/>
          <p:cNvSpPr txBox="1">
            <a:spLocks/>
          </p:cNvSpPr>
          <p:nvPr/>
        </p:nvSpPr>
        <p:spPr>
          <a:xfrm>
            <a:off x="285750" y="452438"/>
            <a:ext cx="10763250" cy="1047750"/>
          </a:xfrm>
          <a:prstGeom prst="rect">
            <a:avLst/>
          </a:prstGeom>
        </p:spPr>
        <p:txBody>
          <a:bodyPr lIns="121920" tIns="60960" rIns="121920" bIns="60960"/>
          <a:lstStyle/>
          <a:p>
            <a:pPr algn="just">
              <a:lnSpc>
                <a:spcPct val="150000"/>
              </a:lnSpc>
              <a:spcBef>
                <a:spcPct val="20000"/>
              </a:spcBef>
            </a:pPr>
            <a:r>
              <a:rPr lang="en-US" altLang="zh-CN" sz="4200" b="1">
                <a:solidFill>
                  <a:srgbClr val="FF0000"/>
                </a:solidFill>
                <a:latin typeface="黑体" pitchFamily="49" charset="-122"/>
                <a:ea typeface="黑体" pitchFamily="49" charset="-122"/>
              </a:rPr>
              <a:t>3.</a:t>
            </a:r>
            <a:r>
              <a:rPr lang="zh-CN" altLang="en-US" sz="4200" b="1">
                <a:solidFill>
                  <a:srgbClr val="FF0000"/>
                </a:solidFill>
                <a:latin typeface="黑体" pitchFamily="49" charset="-122"/>
                <a:ea typeface="黑体" pitchFamily="49" charset="-122"/>
              </a:rPr>
              <a:t>聚焦业务</a:t>
            </a:r>
            <a:endParaRPr lang="en-US" altLang="zh-CN" sz="4200" b="1">
              <a:solidFill>
                <a:srgbClr val="FF0000"/>
              </a:solidFill>
              <a:latin typeface="黑体" pitchFamily="49" charset="-122"/>
              <a:ea typeface="黑体" pitchFamily="49" charset="-122"/>
            </a:endParaRPr>
          </a:p>
        </p:txBody>
      </p:sp>
      <p:grpSp>
        <p:nvGrpSpPr>
          <p:cNvPr id="72707" name="组 4"/>
          <p:cNvGrpSpPr>
            <a:grpSpLocks/>
          </p:cNvGrpSpPr>
          <p:nvPr/>
        </p:nvGrpSpPr>
        <p:grpSpPr bwMode="auto">
          <a:xfrm>
            <a:off x="850900" y="2103438"/>
            <a:ext cx="3263900" cy="4313237"/>
            <a:chOff x="-108520" y="1614026"/>
            <a:chExt cx="2448272" cy="3234653"/>
          </a:xfrm>
        </p:grpSpPr>
        <p:pic>
          <p:nvPicPr>
            <p:cNvPr id="7" name="图片 6"/>
            <p:cNvPicPr>
              <a:picLocks noChangeAspect="1" noChangeArrowheads="1"/>
            </p:cNvPicPr>
            <p:nvPr/>
          </p:nvPicPr>
          <p:blipFill>
            <a:blip r:embed="rId3"/>
            <a:srcRect/>
            <a:stretch>
              <a:fillRect/>
            </a:stretch>
          </p:blipFill>
          <p:spPr bwMode="auto">
            <a:xfrm>
              <a:off x="-19622" y="1595257"/>
              <a:ext cx="2267712" cy="3145536"/>
            </a:xfrm>
            <a:prstGeom prst="rect">
              <a:avLst/>
            </a:prstGeom>
            <a:noFill/>
          </p:spPr>
        </p:pic>
        <p:pic>
          <p:nvPicPr>
            <p:cNvPr id="72715" name="图片 8"/>
            <p:cNvPicPr>
              <a:picLocks noChangeAspect="1"/>
            </p:cNvPicPr>
            <p:nvPr/>
          </p:nvPicPr>
          <p:blipFill>
            <a:blip r:embed="rId4"/>
            <a:srcRect/>
            <a:stretch>
              <a:fillRect/>
            </a:stretch>
          </p:blipFill>
          <p:spPr bwMode="auto">
            <a:xfrm>
              <a:off x="-108520" y="1614026"/>
              <a:ext cx="2448272" cy="3234653"/>
            </a:xfrm>
            <a:prstGeom prst="rect">
              <a:avLst/>
            </a:prstGeom>
            <a:noFill/>
            <a:ln w="9525">
              <a:noFill/>
              <a:miter lim="800000"/>
              <a:headEnd/>
              <a:tailEnd/>
            </a:ln>
          </p:spPr>
        </p:pic>
      </p:grpSp>
      <p:grpSp>
        <p:nvGrpSpPr>
          <p:cNvPr id="72708" name="组 11"/>
          <p:cNvGrpSpPr>
            <a:grpSpLocks/>
          </p:cNvGrpSpPr>
          <p:nvPr/>
        </p:nvGrpSpPr>
        <p:grpSpPr bwMode="auto">
          <a:xfrm>
            <a:off x="4603750" y="2084388"/>
            <a:ext cx="3263900" cy="4313237"/>
            <a:chOff x="3019918" y="1702057"/>
            <a:chExt cx="2448272" cy="3234653"/>
          </a:xfrm>
        </p:grpSpPr>
        <p:pic>
          <p:nvPicPr>
            <p:cNvPr id="72712" name="图片 11"/>
            <p:cNvPicPr>
              <a:picLocks noChangeAspect="1"/>
            </p:cNvPicPr>
            <p:nvPr/>
          </p:nvPicPr>
          <p:blipFill>
            <a:blip r:embed="rId5"/>
            <a:srcRect/>
            <a:stretch>
              <a:fillRect/>
            </a:stretch>
          </p:blipFill>
          <p:spPr bwMode="auto">
            <a:xfrm>
              <a:off x="3130282" y="1829359"/>
              <a:ext cx="2234260" cy="3003798"/>
            </a:xfrm>
            <a:prstGeom prst="rect">
              <a:avLst/>
            </a:prstGeom>
            <a:noFill/>
            <a:ln w="9525">
              <a:noFill/>
              <a:miter lim="800000"/>
              <a:headEnd/>
              <a:tailEnd/>
            </a:ln>
          </p:spPr>
        </p:pic>
        <p:pic>
          <p:nvPicPr>
            <p:cNvPr id="72713" name="图片 12"/>
            <p:cNvPicPr>
              <a:picLocks noChangeAspect="1"/>
            </p:cNvPicPr>
            <p:nvPr/>
          </p:nvPicPr>
          <p:blipFill>
            <a:blip r:embed="rId4"/>
            <a:srcRect/>
            <a:stretch>
              <a:fillRect/>
            </a:stretch>
          </p:blipFill>
          <p:spPr bwMode="auto">
            <a:xfrm>
              <a:off x="3019918" y="1702057"/>
              <a:ext cx="2448272" cy="3234653"/>
            </a:xfrm>
            <a:prstGeom prst="rect">
              <a:avLst/>
            </a:prstGeom>
            <a:noFill/>
            <a:ln w="9525">
              <a:noFill/>
              <a:miter lim="800000"/>
              <a:headEnd/>
              <a:tailEnd/>
            </a:ln>
          </p:spPr>
        </p:pic>
      </p:grpSp>
      <p:grpSp>
        <p:nvGrpSpPr>
          <p:cNvPr id="72709" name="组 12"/>
          <p:cNvGrpSpPr>
            <a:grpSpLocks/>
          </p:cNvGrpSpPr>
          <p:nvPr/>
        </p:nvGrpSpPr>
        <p:grpSpPr bwMode="auto">
          <a:xfrm>
            <a:off x="8453438" y="2111375"/>
            <a:ext cx="3263900" cy="4313238"/>
            <a:chOff x="5836267" y="1724870"/>
            <a:chExt cx="2448272" cy="3234653"/>
          </a:xfrm>
        </p:grpSpPr>
        <p:pic>
          <p:nvPicPr>
            <p:cNvPr id="72710" name="图片 14"/>
            <p:cNvPicPr>
              <a:picLocks noChangeAspect="1"/>
            </p:cNvPicPr>
            <p:nvPr/>
          </p:nvPicPr>
          <p:blipFill>
            <a:blip r:embed="rId6"/>
            <a:srcRect/>
            <a:stretch>
              <a:fillRect/>
            </a:stretch>
          </p:blipFill>
          <p:spPr bwMode="auto">
            <a:xfrm>
              <a:off x="5985520" y="1885039"/>
              <a:ext cx="2166798" cy="2948118"/>
            </a:xfrm>
            <a:prstGeom prst="rect">
              <a:avLst/>
            </a:prstGeom>
            <a:noFill/>
            <a:ln w="9525">
              <a:noFill/>
              <a:miter lim="800000"/>
              <a:headEnd/>
              <a:tailEnd/>
            </a:ln>
          </p:spPr>
        </p:pic>
        <p:pic>
          <p:nvPicPr>
            <p:cNvPr id="72711" name="图片 15"/>
            <p:cNvPicPr>
              <a:picLocks noChangeAspect="1"/>
            </p:cNvPicPr>
            <p:nvPr/>
          </p:nvPicPr>
          <p:blipFill>
            <a:blip r:embed="rId4"/>
            <a:srcRect/>
            <a:stretch>
              <a:fillRect/>
            </a:stretch>
          </p:blipFill>
          <p:spPr bwMode="auto">
            <a:xfrm>
              <a:off x="5836267" y="1724870"/>
              <a:ext cx="2448272" cy="3234653"/>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9CB8B9A7-0F90-424F-9D50-6C6DD1081D29}" type="slidenum">
              <a:rPr lang="zh-CN" altLang="en-US">
                <a:latin typeface="黑体" pitchFamily="49" charset="-122"/>
                <a:ea typeface="黑体" pitchFamily="49" charset="-122"/>
              </a:rPr>
              <a:pPr defTabSz="912813" fontAlgn="base">
                <a:spcBef>
                  <a:spcPct val="0"/>
                </a:spcBef>
                <a:spcAft>
                  <a:spcPct val="0"/>
                </a:spcAft>
              </a:pPr>
              <a:t>31</a:t>
            </a:fld>
            <a:endParaRPr lang="en-US" altLang="zh-CN">
              <a:latin typeface="黑体" pitchFamily="49" charset="-122"/>
              <a:ea typeface="黑体" pitchFamily="49" charset="-122"/>
            </a:endParaRPr>
          </a:p>
        </p:txBody>
      </p:sp>
      <p:sp>
        <p:nvSpPr>
          <p:cNvPr id="74754" name="副标题 5"/>
          <p:cNvSpPr txBox="1">
            <a:spLocks/>
          </p:cNvSpPr>
          <p:nvPr/>
        </p:nvSpPr>
        <p:spPr bwMode="auto">
          <a:xfrm>
            <a:off x="762000" y="1700213"/>
            <a:ext cx="10763250" cy="762000"/>
          </a:xfrm>
          <a:prstGeom prst="rect">
            <a:avLst/>
          </a:prstGeom>
          <a:noFill/>
          <a:ln w="9525">
            <a:noFill/>
            <a:miter lim="800000"/>
            <a:headEnd/>
            <a:tailEnd/>
          </a:ln>
        </p:spPr>
        <p:txBody>
          <a:bodyPr lIns="121920" tIns="60960" rIns="121920" bIns="60960"/>
          <a:lstStyle/>
          <a:p>
            <a:pPr marL="608013" indent="-608013">
              <a:spcBef>
                <a:spcPct val="20000"/>
              </a:spcBef>
              <a:buFontTx/>
              <a:buAutoNum type="arabicPeriod"/>
            </a:pPr>
            <a:endParaRPr lang="en-US" altLang="zh-CN" sz="3200" b="1">
              <a:latin typeface="黑体" pitchFamily="49" charset="-122"/>
              <a:ea typeface="黑体" pitchFamily="49" charset="-122"/>
            </a:endParaRPr>
          </a:p>
        </p:txBody>
      </p:sp>
      <p:sp>
        <p:nvSpPr>
          <p:cNvPr id="10" name="文本框 9"/>
          <p:cNvSpPr txBox="1"/>
          <p:nvPr/>
        </p:nvSpPr>
        <p:spPr>
          <a:xfrm>
            <a:off x="4656138" y="2174875"/>
            <a:ext cx="3614737" cy="912813"/>
          </a:xfrm>
          <a:prstGeom prst="rect">
            <a:avLst/>
          </a:prstGeom>
          <a:noFill/>
        </p:spPr>
        <p:txBody>
          <a:bodyPr wrap="none">
            <a:spAutoFit/>
          </a:bodyPr>
          <a:lstStyle/>
          <a:p>
            <a:r>
              <a:rPr lang="zh-CN" altLang="en-US" sz="5300" b="1">
                <a:latin typeface="黑体" pitchFamily="49" charset="-122"/>
                <a:ea typeface="黑体" pitchFamily="49" charset="-122"/>
              </a:rPr>
              <a:t>开创新品类</a:t>
            </a:r>
            <a:endParaRPr lang="zh-CN" altLang="zh-CN" sz="5300" b="1">
              <a:latin typeface="黑体" pitchFamily="49" charset="-122"/>
              <a:ea typeface="黑体" pitchFamily="49" charset="-122"/>
            </a:endParaRPr>
          </a:p>
        </p:txBody>
      </p:sp>
      <p:sp>
        <p:nvSpPr>
          <p:cNvPr id="74756" name="文本框 10"/>
          <p:cNvSpPr txBox="1">
            <a:spLocks noChangeArrowheads="1"/>
          </p:cNvSpPr>
          <p:nvPr/>
        </p:nvSpPr>
        <p:spPr bwMode="auto">
          <a:xfrm>
            <a:off x="1295400" y="3638550"/>
            <a:ext cx="10010775" cy="1755775"/>
          </a:xfrm>
          <a:prstGeom prst="rect">
            <a:avLst/>
          </a:prstGeom>
          <a:noFill/>
          <a:ln w="9525">
            <a:noFill/>
            <a:miter lim="800000"/>
            <a:headEnd/>
            <a:tailEnd/>
          </a:ln>
        </p:spPr>
        <p:txBody>
          <a:bodyPr>
            <a:spAutoFit/>
          </a:bodyPr>
          <a:lstStyle/>
          <a:p>
            <a:pPr indent="657225">
              <a:lnSpc>
                <a:spcPct val="150000"/>
              </a:lnSpc>
            </a:pPr>
            <a:r>
              <a:rPr lang="zh-CN" altLang="en-US" sz="2400">
                <a:latin typeface="黑体" pitchFamily="49" charset="-122"/>
                <a:ea typeface="黑体" pitchFamily="49" charset="-122"/>
              </a:rPr>
              <a:t>人们通常对初次接触的事物印象深刻。当品牌率先向消费者传播新品类时，消费者容易在接受新品类的同时，对品牌记忆深刻，该品牌从而成为消费者的优先选择。</a:t>
            </a:r>
            <a:endParaRPr lang="en-US" altLang="zh-CN" sz="2400">
              <a:latin typeface="黑体" pitchFamily="49" charset="-122"/>
              <a:ea typeface="黑体" pitchFamily="49" charset="-122"/>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幻灯片编号占位符 3"/>
          <p:cNvSpPr>
            <a:spLocks noGrp="1"/>
          </p:cNvSpPr>
          <p:nvPr>
            <p:ph type="sldNum" sz="quarter" idx="4294967295"/>
          </p:nvPr>
        </p:nvSpPr>
        <p:spPr bwMode="auto">
          <a:xfrm>
            <a:off x="5135563" y="6424613"/>
            <a:ext cx="2844800" cy="365125"/>
          </a:xfrm>
          <a:prstGeom prst="rect">
            <a:avLst/>
          </a:prstGeom>
          <a:noFill/>
          <a:ln>
            <a:miter lim="800000"/>
            <a:headEnd/>
            <a:tailEnd/>
          </a:ln>
        </p:spPr>
        <p:txBody>
          <a:bodyPr/>
          <a:lstStyle/>
          <a:p>
            <a:fld id="{90A2FE92-5A9B-4146-B091-28507A6FA8E5}" type="slidenum">
              <a:rPr lang="zh-CN" altLang="en-US">
                <a:latin typeface="Calibri Light"/>
                <a:ea typeface="微软雅黑" pitchFamily="34" charset="-122"/>
              </a:rPr>
              <a:pPr/>
              <a:t>32</a:t>
            </a:fld>
            <a:endParaRPr lang="en-US" altLang="zh-CN">
              <a:latin typeface="Calibri Light"/>
              <a:ea typeface="微软雅黑" pitchFamily="34" charset="-122"/>
            </a:endParaRPr>
          </a:p>
        </p:txBody>
      </p:sp>
      <p:sp>
        <p:nvSpPr>
          <p:cNvPr id="76802" name="文本框 2"/>
          <p:cNvSpPr txBox="1">
            <a:spLocks noChangeArrowheads="1"/>
          </p:cNvSpPr>
          <p:nvPr/>
        </p:nvSpPr>
        <p:spPr bwMode="auto">
          <a:xfrm>
            <a:off x="4506913" y="2959100"/>
            <a:ext cx="6337300" cy="1200150"/>
          </a:xfrm>
          <a:prstGeom prst="rect">
            <a:avLst/>
          </a:prstGeom>
          <a:noFill/>
          <a:ln w="9525">
            <a:noFill/>
            <a:miter lim="800000"/>
            <a:headEnd/>
            <a:tailEnd/>
          </a:ln>
        </p:spPr>
        <p:txBody>
          <a:bodyPr>
            <a:spAutoFit/>
          </a:bodyPr>
          <a:lstStyle/>
          <a:p>
            <a:pPr indent="661988">
              <a:lnSpc>
                <a:spcPct val="150000"/>
              </a:lnSpc>
            </a:pPr>
            <a:r>
              <a:rPr lang="zh-CN" altLang="en-US" sz="2400">
                <a:latin typeface="黑体" pitchFamily="49" charset="-122"/>
                <a:ea typeface="黑体" pitchFamily="49" charset="-122"/>
              </a:rPr>
              <a:t>瓜子二手车直卖网通过广告饱和攻击，率先进入人们心智，开创二手车直卖网品类。</a:t>
            </a:r>
            <a:endParaRPr lang="zh-CN" altLang="zh-CN" sz="2400">
              <a:latin typeface="黑体" pitchFamily="49" charset="-122"/>
              <a:ea typeface="黑体" pitchFamily="49" charset="-122"/>
            </a:endParaRPr>
          </a:p>
        </p:txBody>
      </p:sp>
      <p:sp>
        <p:nvSpPr>
          <p:cNvPr id="7" name="副标题 5"/>
          <p:cNvSpPr txBox="1">
            <a:spLocks/>
          </p:cNvSpPr>
          <p:nvPr/>
        </p:nvSpPr>
        <p:spPr>
          <a:xfrm>
            <a:off x="285750" y="452438"/>
            <a:ext cx="10763250" cy="1047750"/>
          </a:xfrm>
          <a:prstGeom prst="rect">
            <a:avLst/>
          </a:prstGeom>
        </p:spPr>
        <p:txBody>
          <a:bodyPr lIns="121920" tIns="60960" rIns="121920" bIns="60960"/>
          <a:lstStyle/>
          <a:p>
            <a:pPr algn="just">
              <a:lnSpc>
                <a:spcPct val="150000"/>
              </a:lnSpc>
              <a:spcBef>
                <a:spcPct val="20000"/>
              </a:spcBef>
            </a:pPr>
            <a:r>
              <a:rPr lang="en-US" altLang="zh-CN" sz="4200" b="1">
                <a:solidFill>
                  <a:srgbClr val="FF0000"/>
                </a:solidFill>
                <a:latin typeface="黑体" pitchFamily="49" charset="-122"/>
                <a:ea typeface="黑体" pitchFamily="49" charset="-122"/>
              </a:rPr>
              <a:t>4.</a:t>
            </a:r>
            <a:r>
              <a:rPr lang="zh-CN" altLang="en-US" sz="4200" b="1">
                <a:solidFill>
                  <a:srgbClr val="FF0000"/>
                </a:solidFill>
                <a:latin typeface="黑体" pitchFamily="49" charset="-122"/>
                <a:ea typeface="黑体" pitchFamily="49" charset="-122"/>
              </a:rPr>
              <a:t>开创新品类</a:t>
            </a:r>
            <a:endParaRPr lang="en-US" altLang="zh-CN" sz="4200" b="1">
              <a:solidFill>
                <a:srgbClr val="FF0000"/>
              </a:solidFill>
              <a:latin typeface="黑体" pitchFamily="49" charset="-122"/>
              <a:ea typeface="黑体" pitchFamily="49" charset="-122"/>
            </a:endParaRPr>
          </a:p>
        </p:txBody>
      </p:sp>
      <p:sp>
        <p:nvSpPr>
          <p:cNvPr id="76804" name="文本框 9"/>
          <p:cNvSpPr txBox="1">
            <a:spLocks noChangeArrowheads="1"/>
          </p:cNvSpPr>
          <p:nvPr/>
        </p:nvSpPr>
        <p:spPr bwMode="auto">
          <a:xfrm>
            <a:off x="6288088" y="2278063"/>
            <a:ext cx="3552825" cy="585787"/>
          </a:xfrm>
          <a:prstGeom prst="rect">
            <a:avLst/>
          </a:prstGeom>
          <a:noFill/>
          <a:ln w="9525">
            <a:noFill/>
            <a:miter lim="800000"/>
            <a:headEnd/>
            <a:tailEnd/>
          </a:ln>
        </p:spPr>
        <p:txBody>
          <a:bodyPr>
            <a:spAutoFit/>
          </a:bodyPr>
          <a:lstStyle/>
          <a:p>
            <a:pPr algn="ctr"/>
            <a:r>
              <a:rPr kumimoji="1" lang="zh-CN" altLang="en-US" sz="3200" b="1">
                <a:latin typeface="黑体" pitchFamily="49" charset="-122"/>
                <a:ea typeface="黑体" pitchFamily="49" charset="-122"/>
              </a:rPr>
              <a:t>瓜子二手车直卖网</a:t>
            </a:r>
          </a:p>
        </p:txBody>
      </p:sp>
      <p:grpSp>
        <p:nvGrpSpPr>
          <p:cNvPr id="76805" name="组 13"/>
          <p:cNvGrpSpPr>
            <a:grpSpLocks/>
          </p:cNvGrpSpPr>
          <p:nvPr/>
        </p:nvGrpSpPr>
        <p:grpSpPr bwMode="auto">
          <a:xfrm>
            <a:off x="850900" y="2066925"/>
            <a:ext cx="3263900" cy="4319588"/>
            <a:chOff x="198620" y="1544462"/>
            <a:chExt cx="2448272" cy="3234653"/>
          </a:xfrm>
        </p:grpSpPr>
        <p:pic>
          <p:nvPicPr>
            <p:cNvPr id="76806" name="图片 14"/>
            <p:cNvPicPr>
              <a:picLocks noChangeAspect="1"/>
            </p:cNvPicPr>
            <p:nvPr/>
          </p:nvPicPr>
          <p:blipFill>
            <a:blip r:embed="rId3"/>
            <a:srcRect/>
            <a:stretch>
              <a:fillRect/>
            </a:stretch>
          </p:blipFill>
          <p:spPr bwMode="auto">
            <a:xfrm>
              <a:off x="323529" y="1635251"/>
              <a:ext cx="2232248" cy="2990395"/>
            </a:xfrm>
            <a:prstGeom prst="rect">
              <a:avLst/>
            </a:prstGeom>
            <a:noFill/>
            <a:ln w="9525">
              <a:noFill/>
              <a:miter lim="800000"/>
              <a:headEnd/>
              <a:tailEnd/>
            </a:ln>
          </p:spPr>
        </p:pic>
        <p:pic>
          <p:nvPicPr>
            <p:cNvPr id="76807" name="图片 15"/>
            <p:cNvPicPr>
              <a:picLocks noChangeAspect="1"/>
            </p:cNvPicPr>
            <p:nvPr/>
          </p:nvPicPr>
          <p:blipFill>
            <a:blip r:embed="rId4"/>
            <a:srcRect/>
            <a:stretch>
              <a:fillRect/>
            </a:stretch>
          </p:blipFill>
          <p:spPr bwMode="auto">
            <a:xfrm>
              <a:off x="198620" y="1544462"/>
              <a:ext cx="2448272" cy="3234653"/>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49" name="Picture 11" descr="E:\A-分众楼宇方案\B-案例-楼宇电视\在线二手车\瓜子二手车\赶集网-形象篇150907-1.jpg"/>
          <p:cNvPicPr>
            <a:picLocks noChangeAspect="1" noChangeArrowheads="1"/>
          </p:cNvPicPr>
          <p:nvPr/>
        </p:nvPicPr>
        <p:blipFill>
          <a:blip r:embed="rId2"/>
          <a:srcRect/>
          <a:stretch>
            <a:fillRect/>
          </a:stretch>
        </p:blipFill>
        <p:spPr bwMode="auto">
          <a:xfrm>
            <a:off x="990600" y="3511550"/>
            <a:ext cx="3505200" cy="2101850"/>
          </a:xfrm>
          <a:prstGeom prst="rect">
            <a:avLst/>
          </a:prstGeom>
          <a:noFill/>
          <a:ln w="9525">
            <a:noFill/>
            <a:miter lim="800000"/>
            <a:headEnd/>
            <a:tailEnd/>
          </a:ln>
        </p:spPr>
      </p:pic>
      <p:pic>
        <p:nvPicPr>
          <p:cNvPr id="78850" name="Picture 12" descr="E:\A-分众楼宇方案\B-案例-楼宇电视\在线二手车\瓜子二手车\赶集网-形象篇150907-2.jpg"/>
          <p:cNvPicPr>
            <a:picLocks noChangeAspect="1" noChangeArrowheads="1"/>
          </p:cNvPicPr>
          <p:nvPr/>
        </p:nvPicPr>
        <p:blipFill>
          <a:blip r:embed="rId3"/>
          <a:srcRect/>
          <a:stretch>
            <a:fillRect/>
          </a:stretch>
        </p:blipFill>
        <p:spPr bwMode="auto">
          <a:xfrm>
            <a:off x="652463" y="1316038"/>
            <a:ext cx="4114800" cy="2012950"/>
          </a:xfrm>
          <a:prstGeom prst="rect">
            <a:avLst/>
          </a:prstGeom>
          <a:noFill/>
          <a:ln w="9525">
            <a:noFill/>
            <a:miter lim="800000"/>
            <a:headEnd/>
            <a:tailEnd/>
          </a:ln>
        </p:spPr>
      </p:pic>
      <p:grpSp>
        <p:nvGrpSpPr>
          <p:cNvPr id="78851" name="组合 6"/>
          <p:cNvGrpSpPr>
            <a:grpSpLocks/>
          </p:cNvGrpSpPr>
          <p:nvPr/>
        </p:nvGrpSpPr>
        <p:grpSpPr bwMode="auto">
          <a:xfrm>
            <a:off x="4800600" y="1719263"/>
            <a:ext cx="6400800" cy="3886200"/>
            <a:chOff x="3240435" y="2015951"/>
            <a:chExt cx="7055130" cy="4176320"/>
          </a:xfrm>
        </p:grpSpPr>
        <p:sp>
          <p:nvSpPr>
            <p:cNvPr id="78853" name="圆角矩形 7"/>
            <p:cNvSpPr>
              <a:spLocks noChangeArrowheads="1"/>
            </p:cNvSpPr>
            <p:nvPr/>
          </p:nvSpPr>
          <p:spPr bwMode="auto">
            <a:xfrm>
              <a:off x="6827388" y="3474058"/>
              <a:ext cx="2088232" cy="1296000"/>
            </a:xfrm>
            <a:prstGeom prst="roundRect">
              <a:avLst>
                <a:gd name="adj" fmla="val 16667"/>
              </a:avLst>
            </a:prstGeom>
            <a:noFill/>
            <a:ln w="28575" algn="ctr">
              <a:solidFill>
                <a:srgbClr val="FFC000"/>
              </a:solidFill>
              <a:round/>
              <a:headEnd/>
              <a:tailEnd/>
            </a:ln>
          </p:spPr>
          <p:txBody>
            <a:bodyPr lIns="96771" tIns="48386" rIns="96771" bIns="48386" anchor="ctr"/>
            <a:lstStyle/>
            <a:p>
              <a:pPr defTabSz="966788">
                <a:lnSpc>
                  <a:spcPct val="130000"/>
                </a:lnSpc>
              </a:pPr>
              <a:endParaRPr lang="zh-CN" altLang="en-US" sz="2900" b="1">
                <a:solidFill>
                  <a:srgbClr val="FFFFFF"/>
                </a:solidFill>
                <a:latin typeface="Calibri Light"/>
                <a:ea typeface="华文细黑"/>
                <a:cs typeface="华文细黑"/>
              </a:endParaRPr>
            </a:p>
          </p:txBody>
        </p:sp>
        <p:cxnSp>
          <p:nvCxnSpPr>
            <p:cNvPr id="9" name="直接连接符 8"/>
            <p:cNvCxnSpPr/>
            <p:nvPr/>
          </p:nvCxnSpPr>
          <p:spPr bwMode="auto">
            <a:xfrm>
              <a:off x="8857242" y="3527479"/>
              <a:ext cx="647420" cy="1296570"/>
            </a:xfrm>
            <a:prstGeom prst="line">
              <a:avLst/>
            </a:prstGeom>
            <a:ln w="31750">
              <a:solidFill>
                <a:srgbClr val="FFC00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pic>
          <p:nvPicPr>
            <p:cNvPr id="78855" name="Picture 2"/>
            <p:cNvPicPr>
              <a:picLocks noChangeAspect="1" noChangeArrowheads="1"/>
            </p:cNvPicPr>
            <p:nvPr/>
          </p:nvPicPr>
          <p:blipFill>
            <a:blip r:embed="rId4"/>
            <a:srcRect/>
            <a:stretch>
              <a:fillRect/>
            </a:stretch>
          </p:blipFill>
          <p:spPr bwMode="auto">
            <a:xfrm>
              <a:off x="3240435" y="2015951"/>
              <a:ext cx="2302602" cy="1296000"/>
            </a:xfrm>
            <a:prstGeom prst="rect">
              <a:avLst/>
            </a:prstGeom>
            <a:noFill/>
            <a:ln w="9525">
              <a:noFill/>
              <a:miter lim="800000"/>
              <a:headEnd/>
              <a:tailEnd/>
            </a:ln>
          </p:spPr>
        </p:pic>
        <p:pic>
          <p:nvPicPr>
            <p:cNvPr id="78856" name="Picture 3"/>
            <p:cNvPicPr>
              <a:picLocks noChangeAspect="1" noChangeArrowheads="1"/>
            </p:cNvPicPr>
            <p:nvPr/>
          </p:nvPicPr>
          <p:blipFill>
            <a:blip r:embed="rId5"/>
            <a:srcRect/>
            <a:stretch>
              <a:fillRect/>
            </a:stretch>
          </p:blipFill>
          <p:spPr bwMode="auto">
            <a:xfrm>
              <a:off x="5613898" y="2015951"/>
              <a:ext cx="2308204" cy="1296000"/>
            </a:xfrm>
            <a:prstGeom prst="rect">
              <a:avLst/>
            </a:prstGeom>
            <a:noFill/>
            <a:ln w="9525">
              <a:noFill/>
              <a:miter lim="800000"/>
              <a:headEnd/>
              <a:tailEnd/>
            </a:ln>
          </p:spPr>
        </p:pic>
        <p:pic>
          <p:nvPicPr>
            <p:cNvPr id="78857" name="Picture 4"/>
            <p:cNvPicPr>
              <a:picLocks noChangeAspect="1" noChangeArrowheads="1"/>
            </p:cNvPicPr>
            <p:nvPr/>
          </p:nvPicPr>
          <p:blipFill>
            <a:blip r:embed="rId6"/>
            <a:srcRect/>
            <a:stretch>
              <a:fillRect/>
            </a:stretch>
          </p:blipFill>
          <p:spPr bwMode="auto">
            <a:xfrm>
              <a:off x="7992963" y="2015951"/>
              <a:ext cx="2297027" cy="1296000"/>
            </a:xfrm>
            <a:prstGeom prst="rect">
              <a:avLst/>
            </a:prstGeom>
            <a:noFill/>
            <a:ln w="9525">
              <a:noFill/>
              <a:miter lim="800000"/>
              <a:headEnd/>
              <a:tailEnd/>
            </a:ln>
          </p:spPr>
        </p:pic>
        <p:pic>
          <p:nvPicPr>
            <p:cNvPr id="78858" name="Picture 5"/>
            <p:cNvPicPr>
              <a:picLocks noChangeAspect="1" noChangeArrowheads="1"/>
            </p:cNvPicPr>
            <p:nvPr/>
          </p:nvPicPr>
          <p:blipFill>
            <a:blip r:embed="rId7"/>
            <a:srcRect/>
            <a:stretch>
              <a:fillRect/>
            </a:stretch>
          </p:blipFill>
          <p:spPr bwMode="auto">
            <a:xfrm>
              <a:off x="5620719" y="3456111"/>
              <a:ext cx="2300165" cy="1296000"/>
            </a:xfrm>
            <a:prstGeom prst="rect">
              <a:avLst/>
            </a:prstGeom>
            <a:noFill/>
            <a:ln w="9525">
              <a:noFill/>
              <a:miter lim="800000"/>
              <a:headEnd/>
              <a:tailEnd/>
            </a:ln>
          </p:spPr>
        </p:pic>
        <p:pic>
          <p:nvPicPr>
            <p:cNvPr id="78859" name="Picture 6"/>
            <p:cNvPicPr>
              <a:picLocks noChangeAspect="1" noChangeArrowheads="1"/>
            </p:cNvPicPr>
            <p:nvPr/>
          </p:nvPicPr>
          <p:blipFill>
            <a:blip r:embed="rId8"/>
            <a:srcRect/>
            <a:stretch>
              <a:fillRect/>
            </a:stretch>
          </p:blipFill>
          <p:spPr bwMode="auto">
            <a:xfrm>
              <a:off x="3240435" y="3456111"/>
              <a:ext cx="2308204" cy="1296000"/>
            </a:xfrm>
            <a:prstGeom prst="rect">
              <a:avLst/>
            </a:prstGeom>
            <a:noFill/>
            <a:ln w="9525">
              <a:noFill/>
              <a:miter lim="800000"/>
              <a:headEnd/>
              <a:tailEnd/>
            </a:ln>
          </p:spPr>
        </p:pic>
        <p:pic>
          <p:nvPicPr>
            <p:cNvPr id="78860" name="Picture 7"/>
            <p:cNvPicPr>
              <a:picLocks noChangeAspect="1" noChangeArrowheads="1"/>
            </p:cNvPicPr>
            <p:nvPr/>
          </p:nvPicPr>
          <p:blipFill>
            <a:blip r:embed="rId9"/>
            <a:srcRect/>
            <a:stretch>
              <a:fillRect/>
            </a:stretch>
          </p:blipFill>
          <p:spPr bwMode="auto">
            <a:xfrm>
              <a:off x="7992963" y="3456111"/>
              <a:ext cx="2300165" cy="1296000"/>
            </a:xfrm>
            <a:prstGeom prst="rect">
              <a:avLst/>
            </a:prstGeom>
            <a:noFill/>
            <a:ln w="9525">
              <a:noFill/>
              <a:miter lim="800000"/>
              <a:headEnd/>
              <a:tailEnd/>
            </a:ln>
          </p:spPr>
        </p:pic>
        <p:pic>
          <p:nvPicPr>
            <p:cNvPr id="78861" name="Picture 8"/>
            <p:cNvPicPr>
              <a:picLocks noChangeAspect="1" noChangeArrowheads="1"/>
            </p:cNvPicPr>
            <p:nvPr/>
          </p:nvPicPr>
          <p:blipFill>
            <a:blip r:embed="rId10"/>
            <a:srcRect/>
            <a:stretch>
              <a:fillRect/>
            </a:stretch>
          </p:blipFill>
          <p:spPr bwMode="auto">
            <a:xfrm>
              <a:off x="3240435" y="4896271"/>
              <a:ext cx="2290751" cy="1296000"/>
            </a:xfrm>
            <a:prstGeom prst="rect">
              <a:avLst/>
            </a:prstGeom>
            <a:noFill/>
            <a:ln w="9525">
              <a:noFill/>
              <a:miter lim="800000"/>
              <a:headEnd/>
              <a:tailEnd/>
            </a:ln>
          </p:spPr>
        </p:pic>
        <p:pic>
          <p:nvPicPr>
            <p:cNvPr id="78862" name="Picture 9"/>
            <p:cNvPicPr>
              <a:picLocks noChangeAspect="1" noChangeArrowheads="1"/>
            </p:cNvPicPr>
            <p:nvPr/>
          </p:nvPicPr>
          <p:blipFill>
            <a:blip r:embed="rId11"/>
            <a:srcRect/>
            <a:stretch>
              <a:fillRect/>
            </a:stretch>
          </p:blipFill>
          <p:spPr bwMode="auto">
            <a:xfrm>
              <a:off x="5616335" y="4896271"/>
              <a:ext cx="2291478" cy="1296000"/>
            </a:xfrm>
            <a:prstGeom prst="rect">
              <a:avLst/>
            </a:prstGeom>
            <a:noFill/>
            <a:ln w="9525">
              <a:noFill/>
              <a:miter lim="800000"/>
              <a:headEnd/>
              <a:tailEnd/>
            </a:ln>
          </p:spPr>
        </p:pic>
        <p:pic>
          <p:nvPicPr>
            <p:cNvPr id="78863" name="Picture 10"/>
            <p:cNvPicPr>
              <a:picLocks noChangeAspect="1" noChangeArrowheads="1"/>
            </p:cNvPicPr>
            <p:nvPr/>
          </p:nvPicPr>
          <p:blipFill>
            <a:blip r:embed="rId12"/>
            <a:srcRect/>
            <a:stretch>
              <a:fillRect/>
            </a:stretch>
          </p:blipFill>
          <p:spPr bwMode="auto">
            <a:xfrm>
              <a:off x="7992963" y="4896271"/>
              <a:ext cx="2302602" cy="1296000"/>
            </a:xfrm>
            <a:prstGeom prst="rect">
              <a:avLst/>
            </a:prstGeom>
            <a:noFill/>
            <a:ln w="9525">
              <a:noFill/>
              <a:miter lim="800000"/>
              <a:headEnd/>
              <a:tailEnd/>
            </a:ln>
          </p:spPr>
        </p:pic>
      </p:grpSp>
      <p:sp>
        <p:nvSpPr>
          <p:cNvPr id="78852" name="文本框 2"/>
          <p:cNvSpPr txBox="1">
            <a:spLocks noChangeArrowheads="1"/>
          </p:cNvSpPr>
          <p:nvPr/>
        </p:nvSpPr>
        <p:spPr bwMode="auto">
          <a:xfrm>
            <a:off x="2438400" y="439738"/>
            <a:ext cx="7235825" cy="673100"/>
          </a:xfrm>
          <a:prstGeom prst="rect">
            <a:avLst/>
          </a:prstGeom>
          <a:noFill/>
          <a:ln w="9525">
            <a:noFill/>
            <a:miter lim="800000"/>
            <a:headEnd/>
            <a:tailEnd/>
          </a:ln>
        </p:spPr>
        <p:txBody>
          <a:bodyPr wrap="none" lIns="91438" tIns="45719" rIns="91438" bIns="45719">
            <a:spAutoFit/>
          </a:bodyPr>
          <a:lstStyle/>
          <a:p>
            <a:pPr defTabSz="966788">
              <a:lnSpc>
                <a:spcPct val="130000"/>
              </a:lnSpc>
            </a:pPr>
            <a:r>
              <a:rPr lang="zh-CN" altLang="en-US" sz="2900" b="1">
                <a:solidFill>
                  <a:srgbClr val="000000"/>
                </a:solidFill>
                <a:latin typeface="微软雅黑" pitchFamily="34" charset="-122"/>
                <a:ea typeface="微软雅黑" pitchFamily="34" charset="-122"/>
              </a:rPr>
              <a:t>瓜子二手车不是第一个做</a:t>
            </a:r>
            <a:r>
              <a:rPr lang="en-US" altLang="zh-CN" sz="2900" b="1">
                <a:solidFill>
                  <a:srgbClr val="000000"/>
                </a:solidFill>
                <a:latin typeface="微软雅黑" pitchFamily="34" charset="-122"/>
                <a:ea typeface="微软雅黑" pitchFamily="34" charset="-122"/>
              </a:rPr>
              <a:t>C2C</a:t>
            </a:r>
            <a:r>
              <a:rPr lang="zh-CN" altLang="en-US" sz="2900" b="1">
                <a:solidFill>
                  <a:srgbClr val="000000"/>
                </a:solidFill>
                <a:latin typeface="微软雅黑" pitchFamily="34" charset="-122"/>
                <a:ea typeface="微软雅黑" pitchFamily="34" charset="-122"/>
              </a:rPr>
              <a:t>二手车的企业</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标题 1"/>
          <p:cNvSpPr>
            <a:spLocks noGrp="1"/>
          </p:cNvSpPr>
          <p:nvPr>
            <p:ph type="title"/>
          </p:nvPr>
        </p:nvSpPr>
        <p:spPr bwMode="auto">
          <a:xfrm>
            <a:off x="1243013" y="398463"/>
            <a:ext cx="10517187" cy="534987"/>
          </a:xfrm>
          <a:noFill/>
          <a:ln>
            <a:miter lim="800000"/>
            <a:headEnd/>
            <a:tailEnd/>
          </a:ln>
        </p:spPr>
        <p:txBody>
          <a:bodyPr vert="horz" wrap="square" lIns="121917" tIns="60958" rIns="121917" bIns="60958" numCol="1" anchor="t" anchorCtr="0" compatLnSpc="1">
            <a:prstTxWarp prst="textNoShape">
              <a:avLst/>
            </a:prstTxWarp>
          </a:bodyPr>
          <a:lstStyle/>
          <a:p>
            <a:r>
              <a:rPr lang="zh-CN" altLang="en-US" sz="3700" smtClean="0"/>
              <a:t>传播效果</a:t>
            </a:r>
            <a:r>
              <a:rPr lang="en-US" altLang="zh-CN" sz="3700" smtClean="0"/>
              <a:t>—— APP</a:t>
            </a:r>
            <a:r>
              <a:rPr lang="zh-CN" altLang="en-US" sz="3700" smtClean="0"/>
              <a:t>下载排名有显著提升</a:t>
            </a:r>
          </a:p>
        </p:txBody>
      </p:sp>
      <p:pic>
        <p:nvPicPr>
          <p:cNvPr id="79874" name="Picture 2"/>
          <p:cNvPicPr>
            <a:picLocks noChangeAspect="1" noChangeArrowheads="1"/>
          </p:cNvPicPr>
          <p:nvPr/>
        </p:nvPicPr>
        <p:blipFill>
          <a:blip r:embed="rId2"/>
          <a:srcRect/>
          <a:stretch>
            <a:fillRect/>
          </a:stretch>
        </p:blipFill>
        <p:spPr bwMode="auto">
          <a:xfrm>
            <a:off x="838200" y="2095500"/>
            <a:ext cx="10515600" cy="3962400"/>
          </a:xfrm>
          <a:prstGeom prst="rect">
            <a:avLst/>
          </a:prstGeom>
          <a:noFill/>
          <a:ln w="9525">
            <a:noFill/>
            <a:miter lim="800000"/>
            <a:headEnd/>
            <a:tailEnd/>
          </a:ln>
        </p:spPr>
      </p:pic>
      <p:cxnSp>
        <p:nvCxnSpPr>
          <p:cNvPr id="5" name="直接连接符 4"/>
          <p:cNvCxnSpPr/>
          <p:nvPr/>
        </p:nvCxnSpPr>
        <p:spPr bwMode="auto">
          <a:xfrm>
            <a:off x="4648200" y="2476500"/>
            <a:ext cx="0" cy="3352800"/>
          </a:xfrm>
          <a:prstGeom prst="line">
            <a:avLst/>
          </a:prstGeom>
          <a:ln w="38100">
            <a:solidFill>
              <a:srgbClr val="FF0000"/>
            </a:solidFill>
            <a:prstDash val="dashDot"/>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6" name="矩形 5"/>
          <p:cNvSpPr/>
          <p:nvPr/>
        </p:nvSpPr>
        <p:spPr bwMode="auto">
          <a:xfrm>
            <a:off x="1600200" y="2476500"/>
            <a:ext cx="3048000" cy="3505200"/>
          </a:xfrm>
          <a:prstGeom prst="rect">
            <a:avLst/>
          </a:prstGeom>
          <a:solidFill>
            <a:schemeClr val="bg1">
              <a:lumMod val="85000"/>
              <a:alpha val="45000"/>
            </a:schemeClr>
          </a:solidFill>
          <a:ln w="9525" cap="flat" cmpd="sng" algn="ctr">
            <a:noFill/>
            <a:prstDash val="solid"/>
            <a:round/>
            <a:headEnd type="none" w="med" len="med"/>
            <a:tailEnd type="none" w="med" len="med"/>
          </a:ln>
          <a:effectLst/>
        </p:spPr>
        <p:txBody>
          <a:bodyPr lIns="96768" tIns="48385" rIns="96768" bIns="48385" anchor="ctr"/>
          <a:lstStyle/>
          <a:p>
            <a:pPr defTabSz="967686">
              <a:lnSpc>
                <a:spcPct val="130000"/>
              </a:lnSpc>
              <a:defRPr/>
            </a:pPr>
            <a:endParaRPr lang="zh-CN" altLang="en-US" sz="2900" b="1" dirty="0">
              <a:solidFill>
                <a:prstClr val="white"/>
              </a:solidFill>
              <a:latin typeface="+mn-lt"/>
              <a:ea typeface="华文细黑" pitchFamily="2" charset="-122"/>
            </a:endParaRPr>
          </a:p>
        </p:txBody>
      </p:sp>
      <p:sp>
        <p:nvSpPr>
          <p:cNvPr id="9" name="内容占位符 2"/>
          <p:cNvSpPr txBox="1">
            <a:spLocks/>
          </p:cNvSpPr>
          <p:nvPr/>
        </p:nvSpPr>
        <p:spPr bwMode="auto">
          <a:xfrm>
            <a:off x="990600" y="1028700"/>
            <a:ext cx="10058400" cy="990600"/>
          </a:xfrm>
          <a:prstGeom prst="rect">
            <a:avLst/>
          </a:prstGeom>
          <a:noFill/>
          <a:ln w="9525">
            <a:noFill/>
            <a:miter lim="800000"/>
            <a:headEnd/>
            <a:tailEnd/>
          </a:ln>
        </p:spPr>
        <p:txBody>
          <a:bodyPr lIns="91438" tIns="45719" rIns="91438" bIns="45719"/>
          <a:lstStyle/>
          <a:p>
            <a:pPr marL="362882" indent="-362882" defTabSz="967686" eaLnBrk="0" fontAlgn="auto" hangingPunct="0">
              <a:spcBef>
                <a:spcPct val="20000"/>
              </a:spcBef>
              <a:spcAft>
                <a:spcPts val="0"/>
              </a:spcAft>
              <a:buFont typeface="Wingdings" pitchFamily="2" charset="2"/>
              <a:buChar char="Ø"/>
              <a:defRPr/>
            </a:pPr>
            <a:r>
              <a:rPr lang="zh-CN" altLang="en-US" sz="2100" kern="0" dirty="0">
                <a:solidFill>
                  <a:sysClr val="windowText" lastClr="000000"/>
                </a:solidFill>
                <a:latin typeface="微软雅黑"/>
                <a:ea typeface="+mn-ea"/>
              </a:rPr>
              <a:t>瓜子二手车</a:t>
            </a:r>
            <a:r>
              <a:rPr lang="en-US" altLang="zh-CN" sz="2100" kern="0" dirty="0">
                <a:solidFill>
                  <a:sysClr val="windowText" lastClr="000000"/>
                </a:solidFill>
                <a:latin typeface="微软雅黑"/>
                <a:ea typeface="+mn-ea"/>
              </a:rPr>
              <a:t>8-10</a:t>
            </a:r>
            <a:r>
              <a:rPr lang="zh-CN" altLang="en-US" sz="2100" kern="0" dirty="0">
                <a:solidFill>
                  <a:sysClr val="windowText" lastClr="000000"/>
                </a:solidFill>
                <a:latin typeface="微软雅黑"/>
                <a:ea typeface="+mn-ea"/>
              </a:rPr>
              <a:t>月整体楼宇电视投放期内（一共</a:t>
            </a:r>
            <a:r>
              <a:rPr lang="en-US" altLang="zh-CN" sz="2100" kern="0" dirty="0">
                <a:solidFill>
                  <a:sysClr val="windowText" lastClr="000000"/>
                </a:solidFill>
                <a:latin typeface="微软雅黑"/>
                <a:ea typeface="+mn-ea"/>
              </a:rPr>
              <a:t>9</a:t>
            </a:r>
            <a:r>
              <a:rPr lang="zh-CN" altLang="en-US" sz="2100" kern="0" dirty="0">
                <a:solidFill>
                  <a:sysClr val="windowText" lastClr="000000"/>
                </a:solidFill>
                <a:latin typeface="微软雅黑"/>
                <a:ea typeface="+mn-ea"/>
              </a:rPr>
              <a:t>周），</a:t>
            </a:r>
            <a:r>
              <a:rPr lang="en-US" altLang="zh-CN" sz="2100" kern="0" dirty="0">
                <a:solidFill>
                  <a:sysClr val="windowText" lastClr="000000"/>
                </a:solidFill>
                <a:latin typeface="微软雅黑"/>
                <a:ea typeface="+mn-ea"/>
              </a:rPr>
              <a:t>APP</a:t>
            </a:r>
            <a:r>
              <a:rPr lang="zh-CN" altLang="en-US" sz="2100" kern="0" dirty="0">
                <a:solidFill>
                  <a:sysClr val="windowText" lastClr="000000"/>
                </a:solidFill>
                <a:latin typeface="微软雅黑"/>
                <a:ea typeface="+mn-ea"/>
              </a:rPr>
              <a:t>下载量的从原来</a:t>
            </a:r>
            <a:r>
              <a:rPr lang="en-US" altLang="zh-CN" sz="2100" kern="0" dirty="0">
                <a:solidFill>
                  <a:sysClr val="windowText" lastClr="000000"/>
                </a:solidFill>
                <a:latin typeface="微软雅黑"/>
                <a:ea typeface="+mn-ea"/>
              </a:rPr>
              <a:t>835</a:t>
            </a:r>
            <a:r>
              <a:rPr lang="zh-CN" altLang="en-US" sz="2100" kern="0" dirty="0">
                <a:solidFill>
                  <a:sysClr val="windowText" lastClr="000000"/>
                </a:solidFill>
                <a:latin typeface="微软雅黑"/>
                <a:ea typeface="+mn-ea"/>
              </a:rPr>
              <a:t>名，到峰值跻身于</a:t>
            </a:r>
            <a:r>
              <a:rPr lang="en-US" altLang="zh-CN" sz="2100" kern="0" dirty="0">
                <a:solidFill>
                  <a:sysClr val="windowText" lastClr="000000"/>
                </a:solidFill>
                <a:latin typeface="微软雅黑"/>
                <a:ea typeface="+mn-ea"/>
              </a:rPr>
              <a:t>APPLE STORE</a:t>
            </a:r>
            <a:r>
              <a:rPr lang="zh-CN" altLang="en-US" sz="2100" kern="0" dirty="0">
                <a:solidFill>
                  <a:sysClr val="windowText" lastClr="000000"/>
                </a:solidFill>
                <a:latin typeface="微软雅黑"/>
                <a:ea typeface="+mn-ea"/>
              </a:rPr>
              <a:t>生活服务类</a:t>
            </a:r>
            <a:r>
              <a:rPr lang="en-US" altLang="zh-CN" sz="2100" kern="0" dirty="0">
                <a:solidFill>
                  <a:sysClr val="windowText" lastClr="000000"/>
                </a:solidFill>
                <a:latin typeface="微软雅黑"/>
                <a:ea typeface="+mn-ea"/>
              </a:rPr>
              <a:t>APP</a:t>
            </a:r>
            <a:r>
              <a:rPr lang="zh-CN" altLang="en-US" sz="2100" kern="0" dirty="0">
                <a:solidFill>
                  <a:sysClr val="windowText" lastClr="000000"/>
                </a:solidFill>
                <a:latin typeface="微软雅黑"/>
                <a:ea typeface="+mn-ea"/>
              </a:rPr>
              <a:t>前</a:t>
            </a:r>
            <a:r>
              <a:rPr lang="en-US" altLang="zh-CN" sz="2100" kern="0" dirty="0">
                <a:solidFill>
                  <a:sysClr val="windowText" lastClr="000000"/>
                </a:solidFill>
                <a:latin typeface="微软雅黑"/>
                <a:ea typeface="+mn-ea"/>
              </a:rPr>
              <a:t>20</a:t>
            </a:r>
            <a:r>
              <a:rPr lang="zh-CN" altLang="en-US" sz="2100" kern="0" dirty="0">
                <a:solidFill>
                  <a:sysClr val="windowText" lastClr="000000"/>
                </a:solidFill>
                <a:latin typeface="微软雅黑"/>
                <a:ea typeface="+mn-ea"/>
              </a:rPr>
              <a:t>名，投放效果显著。</a:t>
            </a:r>
          </a:p>
        </p:txBody>
      </p:sp>
      <p:sp>
        <p:nvSpPr>
          <p:cNvPr id="79878" name="椭圆 9"/>
          <p:cNvSpPr>
            <a:spLocks noChangeArrowheads="1"/>
          </p:cNvSpPr>
          <p:nvPr/>
        </p:nvSpPr>
        <p:spPr bwMode="auto">
          <a:xfrm>
            <a:off x="5562600" y="2400300"/>
            <a:ext cx="5791200" cy="457200"/>
          </a:xfrm>
          <a:prstGeom prst="ellipse">
            <a:avLst/>
          </a:prstGeom>
          <a:noFill/>
          <a:ln w="28575" algn="ctr">
            <a:solidFill>
              <a:srgbClr val="00B050"/>
            </a:solidFill>
            <a:prstDash val="dash"/>
            <a:round/>
            <a:headEnd/>
            <a:tailEnd/>
          </a:ln>
        </p:spPr>
        <p:txBody>
          <a:bodyPr lIns="96768" tIns="48385" rIns="96768" bIns="48385" anchor="ctr"/>
          <a:lstStyle/>
          <a:p>
            <a:pPr defTabSz="966788">
              <a:lnSpc>
                <a:spcPct val="130000"/>
              </a:lnSpc>
            </a:pPr>
            <a:endParaRPr lang="zh-CN" altLang="en-US" sz="2900" b="1">
              <a:solidFill>
                <a:srgbClr val="FFFFFF"/>
              </a:solidFill>
              <a:latin typeface="Calibri Light"/>
              <a:ea typeface="华文细黑"/>
              <a:cs typeface="华文细黑"/>
            </a:endParaRPr>
          </a:p>
        </p:txBody>
      </p:sp>
      <p:sp>
        <p:nvSpPr>
          <p:cNvPr id="79879" name="矩形 10"/>
          <p:cNvSpPr>
            <a:spLocks noChangeArrowheads="1"/>
          </p:cNvSpPr>
          <p:nvPr/>
        </p:nvSpPr>
        <p:spPr bwMode="auto">
          <a:xfrm>
            <a:off x="914400" y="6011863"/>
            <a:ext cx="2786063" cy="352425"/>
          </a:xfrm>
          <a:prstGeom prst="rect">
            <a:avLst/>
          </a:prstGeom>
          <a:noFill/>
          <a:ln w="9525">
            <a:noFill/>
            <a:miter lim="800000"/>
            <a:headEnd/>
            <a:tailEnd/>
          </a:ln>
        </p:spPr>
        <p:txBody>
          <a:bodyPr wrap="none" lIns="91438" tIns="45719" rIns="91438" bIns="45719">
            <a:spAutoFit/>
          </a:bodyPr>
          <a:lstStyle/>
          <a:p>
            <a:pPr defTabSz="966788">
              <a:lnSpc>
                <a:spcPct val="130000"/>
              </a:lnSpc>
            </a:pPr>
            <a:r>
              <a:rPr lang="zh-CN" altLang="en-US" sz="1300">
                <a:solidFill>
                  <a:srgbClr val="000000"/>
                </a:solidFill>
                <a:latin typeface="微软雅黑" pitchFamily="34" charset="-122"/>
                <a:ea typeface="微软雅黑" pitchFamily="34" charset="-122"/>
              </a:rPr>
              <a:t>数据来源：</a:t>
            </a:r>
            <a:r>
              <a:rPr lang="en-US" altLang="zh-CN" sz="1300">
                <a:solidFill>
                  <a:srgbClr val="000000"/>
                </a:solidFill>
                <a:latin typeface="微软雅黑" pitchFamily="34" charset="-122"/>
                <a:ea typeface="微软雅黑" pitchFamily="34" charset="-122"/>
              </a:rPr>
              <a:t> http://www.ann9.com</a:t>
            </a:r>
            <a:endParaRPr lang="zh-CN" altLang="en-US" sz="1300">
              <a:solidFill>
                <a:srgbClr val="000000"/>
              </a:solidFill>
              <a:latin typeface="微软雅黑" pitchFamily="34" charset="-122"/>
              <a:ea typeface="微软雅黑" pitchFamily="34" charset="-122"/>
            </a:endParaRPr>
          </a:p>
        </p:txBody>
      </p:sp>
      <p:sp>
        <p:nvSpPr>
          <p:cNvPr id="79880" name="文本框 9"/>
          <p:cNvSpPr txBox="1">
            <a:spLocks noChangeArrowheads="1"/>
          </p:cNvSpPr>
          <p:nvPr/>
        </p:nvSpPr>
        <p:spPr bwMode="auto">
          <a:xfrm>
            <a:off x="1752600" y="2933700"/>
            <a:ext cx="2973388" cy="392113"/>
          </a:xfrm>
          <a:prstGeom prst="rect">
            <a:avLst/>
          </a:prstGeom>
          <a:noFill/>
          <a:ln w="9525">
            <a:noFill/>
            <a:miter lim="800000"/>
            <a:headEnd/>
            <a:tailEnd/>
          </a:ln>
        </p:spPr>
        <p:txBody>
          <a:bodyPr lIns="91438" tIns="45719" rIns="91438" bIns="45719">
            <a:spAutoFit/>
          </a:bodyPr>
          <a:lstStyle/>
          <a:p>
            <a:pPr algn="ctr" defTabSz="966788">
              <a:lnSpc>
                <a:spcPct val="130000"/>
              </a:lnSpc>
            </a:pPr>
            <a:r>
              <a:rPr lang="zh-CN" altLang="en-US" sz="1500">
                <a:solidFill>
                  <a:srgbClr val="FF0000"/>
                </a:solidFill>
                <a:latin typeface="微软雅黑" pitchFamily="34" charset="-122"/>
                <a:ea typeface="微软雅黑" pitchFamily="34" charset="-122"/>
              </a:rPr>
              <a:t>瓜子二手车楼宇广告投放开始</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标题 1"/>
          <p:cNvSpPr>
            <a:spLocks noGrp="1"/>
          </p:cNvSpPr>
          <p:nvPr>
            <p:ph type="title"/>
          </p:nvPr>
        </p:nvSpPr>
        <p:spPr bwMode="auto">
          <a:xfrm>
            <a:off x="609600" y="557213"/>
            <a:ext cx="10972800" cy="1143000"/>
          </a:xfrm>
          <a:noFill/>
          <a:ln>
            <a:miter lim="800000"/>
            <a:headEnd/>
            <a:tailEnd/>
          </a:ln>
        </p:spPr>
        <p:txBody>
          <a:bodyPr vert="horz" wrap="square" lIns="121917" tIns="60958" rIns="121917" bIns="60958" numCol="1" anchor="t" anchorCtr="0" compatLnSpc="1">
            <a:prstTxWarp prst="textNoShape">
              <a:avLst/>
            </a:prstTxWarp>
          </a:bodyPr>
          <a:lstStyle/>
          <a:p>
            <a:r>
              <a:rPr lang="zh-CN" altLang="en-US" sz="3200" smtClean="0"/>
              <a:t>投放效果：投放周期内有效提升受众及媒体关注度</a:t>
            </a:r>
          </a:p>
        </p:txBody>
      </p:sp>
      <p:sp>
        <p:nvSpPr>
          <p:cNvPr id="11" name="内容占位符 2"/>
          <p:cNvSpPr txBox="1">
            <a:spLocks/>
          </p:cNvSpPr>
          <p:nvPr/>
        </p:nvSpPr>
        <p:spPr>
          <a:xfrm>
            <a:off x="909638" y="1439863"/>
            <a:ext cx="10288587" cy="673100"/>
          </a:xfrm>
          <a:prstGeom prst="rect">
            <a:avLst/>
          </a:prstGeom>
        </p:spPr>
        <p:txBody>
          <a:bodyPr lIns="91438" tIns="45719" rIns="91438" bIns="45719" anchor="ctr"/>
          <a:lstStyle>
            <a:lvl1pPr marL="342900" indent="-342900" algn="l" rtl="0" fontAlgn="base">
              <a:lnSpc>
                <a:spcPct val="120000"/>
              </a:lnSpc>
              <a:spcBef>
                <a:spcPct val="20000"/>
              </a:spcBef>
              <a:spcAft>
                <a:spcPct val="0"/>
              </a:spcAft>
              <a:buFont typeface="Wingdings" pitchFamily="2" charset="2"/>
              <a:buChar char="Ø"/>
              <a:defRPr sz="2400">
                <a:solidFill>
                  <a:srgbClr val="333333"/>
                </a:solidFill>
                <a:latin typeface="+mn-lt"/>
                <a:ea typeface="+mn-ea"/>
                <a:cs typeface="+mn-cs"/>
              </a:defRPr>
            </a:lvl1pPr>
            <a:lvl2pPr marL="742950" indent="-285750" algn="l" rtl="0" fontAlgn="base">
              <a:lnSpc>
                <a:spcPct val="120000"/>
              </a:lnSpc>
              <a:spcBef>
                <a:spcPct val="20000"/>
              </a:spcBef>
              <a:spcAft>
                <a:spcPct val="0"/>
              </a:spcAft>
              <a:buFont typeface="Wingdings" pitchFamily="2" charset="2"/>
              <a:buChar char="Ø"/>
              <a:defRPr sz="2000">
                <a:solidFill>
                  <a:srgbClr val="333333"/>
                </a:solidFill>
                <a:latin typeface="+mn-lt"/>
                <a:ea typeface="+mn-ea"/>
              </a:defRPr>
            </a:lvl2pPr>
            <a:lvl3pPr marL="1143000" indent="-228600" algn="l" rtl="0" fontAlgn="base">
              <a:lnSpc>
                <a:spcPct val="120000"/>
              </a:lnSpc>
              <a:spcBef>
                <a:spcPct val="20000"/>
              </a:spcBef>
              <a:spcAft>
                <a:spcPct val="0"/>
              </a:spcAft>
              <a:buFont typeface="Wingdings" pitchFamily="2" charset="2"/>
              <a:buChar char="Ø"/>
              <a:defRPr>
                <a:solidFill>
                  <a:srgbClr val="333333"/>
                </a:solidFill>
                <a:latin typeface="+mn-lt"/>
                <a:ea typeface="+mn-ea"/>
              </a:defRPr>
            </a:lvl3pPr>
            <a:lvl4pPr marL="1600200" indent="-228600" algn="l" rtl="0" fontAlgn="base">
              <a:lnSpc>
                <a:spcPct val="120000"/>
              </a:lnSpc>
              <a:spcBef>
                <a:spcPct val="20000"/>
              </a:spcBef>
              <a:spcAft>
                <a:spcPct val="0"/>
              </a:spcAft>
              <a:buFont typeface="Wingdings" pitchFamily="2" charset="2"/>
              <a:buChar char="Ø"/>
              <a:defRPr sz="1600">
                <a:solidFill>
                  <a:srgbClr val="333333"/>
                </a:solidFill>
                <a:latin typeface="+mn-lt"/>
                <a:ea typeface="+mn-ea"/>
              </a:defRPr>
            </a:lvl4pPr>
            <a:lvl5pPr marL="2057400" indent="-228600" algn="l" rtl="0" fontAlgn="base">
              <a:lnSpc>
                <a:spcPct val="120000"/>
              </a:lnSpc>
              <a:spcBef>
                <a:spcPct val="20000"/>
              </a:spcBef>
              <a:spcAft>
                <a:spcPct val="0"/>
              </a:spcAft>
              <a:buFont typeface="Wingdings" pitchFamily="2" charset="2"/>
              <a:buChar char="Ø"/>
              <a:defRPr sz="1600">
                <a:solidFill>
                  <a:srgbClr val="333333"/>
                </a:solidFill>
                <a:latin typeface="+mn-lt"/>
                <a:ea typeface="+mn-ea"/>
              </a:defRPr>
            </a:lvl5pPr>
            <a:lvl6pPr marL="2514600" indent="-228600" algn="l" rtl="0" fontAlgn="base">
              <a:lnSpc>
                <a:spcPct val="120000"/>
              </a:lnSpc>
              <a:spcBef>
                <a:spcPct val="20000"/>
              </a:spcBef>
              <a:spcAft>
                <a:spcPct val="0"/>
              </a:spcAft>
              <a:buFont typeface="Wingdings" pitchFamily="2" charset="2"/>
              <a:buChar char="Ø"/>
              <a:defRPr sz="1600">
                <a:solidFill>
                  <a:srgbClr val="333333"/>
                </a:solidFill>
                <a:latin typeface="+mn-lt"/>
                <a:ea typeface="+mn-ea"/>
              </a:defRPr>
            </a:lvl6pPr>
            <a:lvl7pPr marL="2971800" indent="-228600" algn="l" rtl="0" fontAlgn="base">
              <a:lnSpc>
                <a:spcPct val="120000"/>
              </a:lnSpc>
              <a:spcBef>
                <a:spcPct val="20000"/>
              </a:spcBef>
              <a:spcAft>
                <a:spcPct val="0"/>
              </a:spcAft>
              <a:buFont typeface="Wingdings" pitchFamily="2" charset="2"/>
              <a:buChar char="Ø"/>
              <a:defRPr sz="1600">
                <a:solidFill>
                  <a:srgbClr val="333333"/>
                </a:solidFill>
                <a:latin typeface="+mn-lt"/>
                <a:ea typeface="+mn-ea"/>
              </a:defRPr>
            </a:lvl7pPr>
            <a:lvl8pPr marL="3429000" indent="-228600" algn="l" rtl="0" fontAlgn="base">
              <a:lnSpc>
                <a:spcPct val="120000"/>
              </a:lnSpc>
              <a:spcBef>
                <a:spcPct val="20000"/>
              </a:spcBef>
              <a:spcAft>
                <a:spcPct val="0"/>
              </a:spcAft>
              <a:buFont typeface="Wingdings" pitchFamily="2" charset="2"/>
              <a:buChar char="Ø"/>
              <a:defRPr sz="1600">
                <a:solidFill>
                  <a:srgbClr val="333333"/>
                </a:solidFill>
                <a:latin typeface="+mn-lt"/>
                <a:ea typeface="+mn-ea"/>
              </a:defRPr>
            </a:lvl8pPr>
            <a:lvl9pPr marL="3886200" indent="-228600" algn="l" rtl="0" fontAlgn="base">
              <a:lnSpc>
                <a:spcPct val="120000"/>
              </a:lnSpc>
              <a:spcBef>
                <a:spcPct val="20000"/>
              </a:spcBef>
              <a:spcAft>
                <a:spcPct val="0"/>
              </a:spcAft>
              <a:buFont typeface="Wingdings" pitchFamily="2" charset="2"/>
              <a:buChar char="Ø"/>
              <a:defRPr sz="1600">
                <a:solidFill>
                  <a:srgbClr val="333333"/>
                </a:solidFill>
                <a:latin typeface="+mn-lt"/>
                <a:ea typeface="+mn-ea"/>
              </a:defRPr>
            </a:lvl9pPr>
          </a:lstStyle>
          <a:p>
            <a:pPr defTabSz="967686">
              <a:defRPr/>
            </a:pPr>
            <a:r>
              <a:rPr lang="zh-CN" altLang="en-US" sz="1900" kern="0" dirty="0">
                <a:latin typeface="微软雅黑"/>
              </a:rPr>
              <a:t>分众楼宇广告投放期间，瓜子二手车百度搜索指数迅速提升，创造了品牌上市后的峰值！</a:t>
            </a:r>
          </a:p>
        </p:txBody>
      </p:sp>
      <p:sp>
        <p:nvSpPr>
          <p:cNvPr id="80899" name="矩形 11"/>
          <p:cNvSpPr>
            <a:spLocks noChangeArrowheads="1"/>
          </p:cNvSpPr>
          <p:nvPr/>
        </p:nvSpPr>
        <p:spPr bwMode="auto">
          <a:xfrm>
            <a:off x="838200" y="6402388"/>
            <a:ext cx="1684338" cy="352425"/>
          </a:xfrm>
          <a:prstGeom prst="rect">
            <a:avLst/>
          </a:prstGeom>
          <a:noFill/>
          <a:ln w="9525">
            <a:noFill/>
            <a:miter lim="800000"/>
            <a:headEnd/>
            <a:tailEnd/>
          </a:ln>
        </p:spPr>
        <p:txBody>
          <a:bodyPr wrap="none" lIns="91438" tIns="45719" rIns="91438" bIns="45719">
            <a:spAutoFit/>
          </a:bodyPr>
          <a:lstStyle/>
          <a:p>
            <a:pPr defTabSz="966788">
              <a:lnSpc>
                <a:spcPct val="130000"/>
              </a:lnSpc>
            </a:pPr>
            <a:r>
              <a:rPr lang="zh-CN" altLang="en-US" sz="1300">
                <a:solidFill>
                  <a:srgbClr val="000000"/>
                </a:solidFill>
                <a:latin typeface="微软雅黑" pitchFamily="34" charset="-122"/>
                <a:ea typeface="微软雅黑" pitchFamily="34" charset="-122"/>
              </a:rPr>
              <a:t>数据来源：百度指数</a:t>
            </a:r>
          </a:p>
        </p:txBody>
      </p:sp>
      <p:grpSp>
        <p:nvGrpSpPr>
          <p:cNvPr id="80900" name="组合 19"/>
          <p:cNvGrpSpPr>
            <a:grpSpLocks/>
          </p:cNvGrpSpPr>
          <p:nvPr/>
        </p:nvGrpSpPr>
        <p:grpSpPr bwMode="auto">
          <a:xfrm>
            <a:off x="817563" y="2181225"/>
            <a:ext cx="10556875" cy="3703638"/>
            <a:chOff x="432122" y="2528681"/>
            <a:chExt cx="9975901" cy="3499863"/>
          </a:xfrm>
        </p:grpSpPr>
        <p:pic>
          <p:nvPicPr>
            <p:cNvPr id="80902" name="Picture 2"/>
            <p:cNvPicPr>
              <a:picLocks noChangeAspect="1" noChangeArrowheads="1"/>
            </p:cNvPicPr>
            <p:nvPr/>
          </p:nvPicPr>
          <p:blipFill>
            <a:blip r:embed="rId3"/>
            <a:srcRect/>
            <a:stretch>
              <a:fillRect/>
            </a:stretch>
          </p:blipFill>
          <p:spPr bwMode="auto">
            <a:xfrm>
              <a:off x="432122" y="2528681"/>
              <a:ext cx="9975901" cy="3486150"/>
            </a:xfrm>
            <a:prstGeom prst="rect">
              <a:avLst/>
            </a:prstGeom>
            <a:noFill/>
            <a:ln w="9525">
              <a:noFill/>
              <a:miter lim="800000"/>
              <a:headEnd/>
              <a:tailEnd/>
            </a:ln>
          </p:spPr>
        </p:pic>
        <p:sp>
          <p:nvSpPr>
            <p:cNvPr id="80903" name="矩形 10"/>
            <p:cNvSpPr>
              <a:spLocks noChangeArrowheads="1"/>
            </p:cNvSpPr>
            <p:nvPr/>
          </p:nvSpPr>
          <p:spPr bwMode="auto">
            <a:xfrm>
              <a:off x="611854" y="3422177"/>
              <a:ext cx="3348662" cy="2554213"/>
            </a:xfrm>
            <a:prstGeom prst="rect">
              <a:avLst/>
            </a:prstGeom>
            <a:solidFill>
              <a:schemeClr val="tx1">
                <a:alpha val="21176"/>
              </a:schemeClr>
            </a:solidFill>
            <a:ln w="9525">
              <a:noFill/>
              <a:miter lim="800000"/>
              <a:headEnd/>
              <a:tailEnd/>
            </a:ln>
          </p:spPr>
          <p:txBody>
            <a:bodyPr anchor="ctr"/>
            <a:lstStyle/>
            <a:p>
              <a:pPr defTabSz="966788">
                <a:lnSpc>
                  <a:spcPct val="130000"/>
                </a:lnSpc>
              </a:pPr>
              <a:endParaRPr lang="zh-CN" altLang="en-US" sz="2900" b="1">
                <a:solidFill>
                  <a:srgbClr val="FFFFFF"/>
                </a:solidFill>
                <a:ea typeface="华文细黑"/>
                <a:cs typeface="华文细黑"/>
              </a:endParaRPr>
            </a:p>
          </p:txBody>
        </p:sp>
        <p:cxnSp>
          <p:nvCxnSpPr>
            <p:cNvPr id="16" name="直接连接符 15"/>
            <p:cNvCxnSpPr/>
            <p:nvPr/>
          </p:nvCxnSpPr>
          <p:spPr bwMode="auto">
            <a:xfrm>
              <a:off x="3960441" y="3383770"/>
              <a:ext cx="0" cy="2626773"/>
            </a:xfrm>
            <a:prstGeom prst="line">
              <a:avLst/>
            </a:prstGeom>
            <a:ln w="28575">
              <a:solidFill>
                <a:srgbClr val="FF0000"/>
              </a:solidFill>
              <a:prstDash val="dash"/>
              <a:headEnd type="none" w="med" len="med"/>
              <a:tailEnd type="none" w="med" len="med"/>
            </a:ln>
          </p:spPr>
          <p:style>
            <a:lnRef idx="1">
              <a:schemeClr val="accent6"/>
            </a:lnRef>
            <a:fillRef idx="0">
              <a:schemeClr val="accent6"/>
            </a:fillRef>
            <a:effectRef idx="0">
              <a:schemeClr val="accent6"/>
            </a:effectRef>
            <a:fontRef idx="minor">
              <a:schemeClr val="tx1"/>
            </a:fontRef>
          </p:style>
        </p:cxnSp>
        <p:pic>
          <p:nvPicPr>
            <p:cNvPr id="80905" name="Picture 3"/>
            <p:cNvPicPr>
              <a:picLocks noChangeAspect="1" noChangeArrowheads="1"/>
            </p:cNvPicPr>
            <p:nvPr/>
          </p:nvPicPr>
          <p:blipFill>
            <a:blip r:embed="rId4"/>
            <a:srcRect/>
            <a:stretch>
              <a:fillRect/>
            </a:stretch>
          </p:blipFill>
          <p:spPr bwMode="auto">
            <a:xfrm>
              <a:off x="8208987" y="3312095"/>
              <a:ext cx="2095500" cy="552450"/>
            </a:xfrm>
            <a:prstGeom prst="rect">
              <a:avLst/>
            </a:prstGeom>
            <a:noFill/>
            <a:ln w="9525">
              <a:noFill/>
              <a:miter lim="800000"/>
              <a:headEnd/>
              <a:tailEnd/>
            </a:ln>
          </p:spPr>
        </p:pic>
        <p:cxnSp>
          <p:nvCxnSpPr>
            <p:cNvPr id="19" name="直接连接符 18"/>
            <p:cNvCxnSpPr/>
            <p:nvPr/>
          </p:nvCxnSpPr>
          <p:spPr bwMode="auto">
            <a:xfrm>
              <a:off x="8091814" y="3401771"/>
              <a:ext cx="0" cy="2626773"/>
            </a:xfrm>
            <a:prstGeom prst="line">
              <a:avLst/>
            </a:prstGeom>
            <a:ln w="28575">
              <a:solidFill>
                <a:srgbClr val="FF0000"/>
              </a:solidFill>
              <a:prstDash val="dash"/>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
        <p:nvSpPr>
          <p:cNvPr id="80901" name="文本框 9"/>
          <p:cNvSpPr txBox="1">
            <a:spLocks noChangeArrowheads="1"/>
          </p:cNvSpPr>
          <p:nvPr/>
        </p:nvSpPr>
        <p:spPr bwMode="auto">
          <a:xfrm>
            <a:off x="3200400" y="2971800"/>
            <a:ext cx="2974975" cy="392113"/>
          </a:xfrm>
          <a:prstGeom prst="rect">
            <a:avLst/>
          </a:prstGeom>
          <a:noFill/>
          <a:ln w="9525">
            <a:noFill/>
            <a:miter lim="800000"/>
            <a:headEnd/>
            <a:tailEnd/>
          </a:ln>
        </p:spPr>
        <p:txBody>
          <a:bodyPr lIns="91438" tIns="45719" rIns="91438" bIns="45719">
            <a:spAutoFit/>
          </a:bodyPr>
          <a:lstStyle/>
          <a:p>
            <a:pPr algn="ctr" defTabSz="966788">
              <a:lnSpc>
                <a:spcPct val="130000"/>
              </a:lnSpc>
            </a:pPr>
            <a:r>
              <a:rPr lang="zh-CN" altLang="en-US" sz="1500">
                <a:solidFill>
                  <a:srgbClr val="FF0000"/>
                </a:solidFill>
                <a:latin typeface="微软雅黑" pitchFamily="34" charset="-122"/>
                <a:ea typeface="微软雅黑" pitchFamily="34" charset="-122"/>
              </a:rPr>
              <a:t>瓜子二手车楼宇广告投放开始</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txBox="1">
            <a:spLocks/>
          </p:cNvSpPr>
          <p:nvPr/>
        </p:nvSpPr>
        <p:spPr bwMode="auto">
          <a:xfrm>
            <a:off x="82550" y="414338"/>
            <a:ext cx="12192000" cy="1754187"/>
          </a:xfrm>
          <a:prstGeom prst="rect">
            <a:avLst/>
          </a:prstGeom>
          <a:noFill/>
          <a:ln>
            <a:noFill/>
          </a:ln>
          <a:extLst>
            <a:ext uri="{909E8E84-426E-40DD-AFC4-6F175D3DCCD1}"/>
            <a:ext uri="{91240B29-F687-4F45-9708-019B960494DF}"/>
          </a:extLst>
        </p:spPr>
        <p:txBody>
          <a:bodyPr lIns="91438" tIns="45719" rIns="91438" bIns="45719" anchor="b">
            <a:spAutoFit/>
          </a:bodyPr>
          <a:lstStyle>
            <a:defPPr>
              <a:defRPr lang="en-AU"/>
            </a:defPPr>
            <a:lvl1pPr eaLnBrk="0" hangingPunct="0">
              <a:lnSpc>
                <a:spcPct val="100000"/>
              </a:lnSpc>
              <a:defRPr kumimoji="1" sz="3600">
                <a:solidFill>
                  <a:schemeClr val="tx2"/>
                </a:solidFill>
                <a:effectLst>
                  <a:outerShdw blurRad="50800" dist="38100" dir="8100000" algn="tr" rotWithShape="0">
                    <a:prstClr val="black">
                      <a:alpha val="40000"/>
                    </a:prstClr>
                  </a:outerShdw>
                </a:effectLst>
                <a:latin typeface="微软雅黑" pitchFamily="34" charset="-122"/>
                <a:ea typeface="微软雅黑" pitchFamily="34" charset="-122"/>
                <a:cs typeface="+mj-cs"/>
              </a:defRPr>
            </a:lvl1pPr>
            <a:lvl2pPr algn="ctr" eaLnBrk="0" hangingPunct="0">
              <a:defRPr kumimoji="1" sz="4400">
                <a:solidFill>
                  <a:schemeClr val="tx2"/>
                </a:solidFill>
                <a:latin typeface="Arial" charset="0"/>
              </a:defRPr>
            </a:lvl2pPr>
            <a:lvl3pPr algn="ctr" eaLnBrk="0" hangingPunct="0">
              <a:defRPr kumimoji="1" sz="4400">
                <a:solidFill>
                  <a:schemeClr val="tx2"/>
                </a:solidFill>
                <a:latin typeface="Arial" charset="0"/>
              </a:defRPr>
            </a:lvl3pPr>
            <a:lvl4pPr algn="ctr" eaLnBrk="0" hangingPunct="0">
              <a:defRPr kumimoji="1" sz="4400">
                <a:solidFill>
                  <a:schemeClr val="tx2"/>
                </a:solidFill>
                <a:latin typeface="Arial" charset="0"/>
              </a:defRPr>
            </a:lvl4pPr>
            <a:lvl5pPr algn="ctr" eaLnBrk="0" hangingPunct="0">
              <a:defRPr kumimoji="1" sz="4400">
                <a:solidFill>
                  <a:schemeClr val="tx2"/>
                </a:solidFill>
                <a:latin typeface="Arial" charset="0"/>
              </a:defRPr>
            </a:lvl5pPr>
            <a:lvl6pPr marL="457200" algn="ctr" eaLnBrk="0" fontAlgn="base" hangingPunct="0">
              <a:spcBef>
                <a:spcPct val="0"/>
              </a:spcBef>
              <a:spcAft>
                <a:spcPct val="0"/>
              </a:spcAft>
              <a:defRPr kumimoji="1" sz="4400">
                <a:solidFill>
                  <a:schemeClr val="tx2"/>
                </a:solidFill>
                <a:latin typeface="Arial" charset="0"/>
              </a:defRPr>
            </a:lvl6pPr>
            <a:lvl7pPr marL="914400" algn="ctr" eaLnBrk="0" fontAlgn="base" hangingPunct="0">
              <a:spcBef>
                <a:spcPct val="0"/>
              </a:spcBef>
              <a:spcAft>
                <a:spcPct val="0"/>
              </a:spcAft>
              <a:defRPr kumimoji="1" sz="4400">
                <a:solidFill>
                  <a:schemeClr val="tx2"/>
                </a:solidFill>
                <a:latin typeface="Arial" charset="0"/>
              </a:defRPr>
            </a:lvl7pPr>
            <a:lvl8pPr marL="1371600" algn="ctr" eaLnBrk="0" fontAlgn="base" hangingPunct="0">
              <a:spcBef>
                <a:spcPct val="0"/>
              </a:spcBef>
              <a:spcAft>
                <a:spcPct val="0"/>
              </a:spcAft>
              <a:defRPr kumimoji="1" sz="4400">
                <a:solidFill>
                  <a:schemeClr val="tx2"/>
                </a:solidFill>
                <a:latin typeface="Arial" charset="0"/>
              </a:defRPr>
            </a:lvl8pPr>
            <a:lvl9pPr marL="1828800" algn="ctr" eaLnBrk="0" fontAlgn="base" hangingPunct="0">
              <a:spcBef>
                <a:spcPct val="0"/>
              </a:spcBef>
              <a:spcAft>
                <a:spcPct val="0"/>
              </a:spcAft>
              <a:defRPr kumimoji="1" sz="4400">
                <a:solidFill>
                  <a:schemeClr val="tx2"/>
                </a:solidFill>
                <a:latin typeface="Arial" charset="0"/>
              </a:defRPr>
            </a:lvl9pPr>
          </a:lstStyle>
          <a:p>
            <a:pPr algn="ctr" defTabSz="914377" fontAlgn="auto">
              <a:lnSpc>
                <a:spcPct val="150000"/>
              </a:lnSpc>
              <a:spcBef>
                <a:spcPts val="0"/>
              </a:spcBef>
              <a:spcAft>
                <a:spcPts val="0"/>
              </a:spcAft>
              <a:defRPr/>
            </a:pPr>
            <a:r>
              <a:rPr lang="zh-CN" altLang="en-US" b="1" dirty="0">
                <a:solidFill>
                  <a:srgbClr val="FF0000"/>
                </a:solidFill>
                <a:latin typeface="微软雅黑"/>
              </a:rPr>
              <a:t>瓜子二手车不是第一个做</a:t>
            </a:r>
            <a:r>
              <a:rPr lang="en-US" altLang="zh-CN" b="1" dirty="0">
                <a:solidFill>
                  <a:srgbClr val="FF0000"/>
                </a:solidFill>
                <a:latin typeface="微软雅黑"/>
              </a:rPr>
              <a:t>C2C</a:t>
            </a:r>
            <a:r>
              <a:rPr lang="zh-CN" altLang="en-US" b="1" dirty="0">
                <a:solidFill>
                  <a:srgbClr val="FF0000"/>
                </a:solidFill>
                <a:latin typeface="微软雅黑"/>
              </a:rPr>
              <a:t>二手车的企业</a:t>
            </a:r>
          </a:p>
          <a:p>
            <a:pPr algn="ctr" defTabSz="914377" fontAlgn="auto">
              <a:lnSpc>
                <a:spcPct val="150000"/>
              </a:lnSpc>
              <a:spcBef>
                <a:spcPts val="0"/>
              </a:spcBef>
              <a:spcAft>
                <a:spcPts val="0"/>
              </a:spcAft>
              <a:defRPr/>
            </a:pPr>
            <a:r>
              <a:rPr lang="zh-CN" altLang="en-US" b="1" dirty="0" smtClean="0">
                <a:solidFill>
                  <a:srgbClr val="FF0000"/>
                </a:solidFill>
                <a:latin typeface="+mj-ea"/>
                <a:ea typeface="+mj-ea"/>
              </a:rPr>
              <a:t>但瓜子抓住了开创新品类的心智窗口期</a:t>
            </a:r>
            <a:endParaRPr lang="zh-CN" altLang="en-US" b="1" dirty="0">
              <a:solidFill>
                <a:srgbClr val="FF0000"/>
              </a:solidFill>
              <a:latin typeface="+mj-ea"/>
              <a:ea typeface="+mj-ea"/>
            </a:endParaRPr>
          </a:p>
        </p:txBody>
      </p:sp>
      <p:sp>
        <p:nvSpPr>
          <p:cNvPr id="82946" name="内容占位符 2"/>
          <p:cNvSpPr>
            <a:spLocks noGrp="1"/>
          </p:cNvSpPr>
          <p:nvPr>
            <p:ph idx="1"/>
          </p:nvPr>
        </p:nvSpPr>
        <p:spPr bwMode="auto">
          <a:xfrm>
            <a:off x="442913" y="2168525"/>
            <a:ext cx="11269662" cy="3924300"/>
          </a:xfrm>
          <a:noFill/>
          <a:ln>
            <a:miter lim="800000"/>
            <a:headEnd/>
            <a:tailEnd/>
          </a:ln>
        </p:spPr>
        <p:txBody>
          <a:bodyPr wrap="square" numCol="1" anchor="t" anchorCtr="0" compatLnSpc="1">
            <a:prstTxWarp prst="textNoShape">
              <a:avLst/>
            </a:prstTxWarp>
            <a:spAutoFit/>
          </a:bodyPr>
          <a:lstStyle/>
          <a:p>
            <a:pPr marL="0" indent="0" algn="ctr">
              <a:lnSpc>
                <a:spcPct val="200000"/>
              </a:lnSpc>
              <a:buFont typeface="Arial" charset="0"/>
              <a:buNone/>
            </a:pPr>
            <a:r>
              <a:rPr lang="zh-CN" altLang="en-US" b="1" smtClean="0"/>
              <a:t>没有什么技术绝对领先</a:t>
            </a:r>
            <a:endParaRPr lang="en-US" altLang="zh-CN" b="1" smtClean="0"/>
          </a:p>
          <a:p>
            <a:pPr marL="0" indent="0" algn="ctr">
              <a:lnSpc>
                <a:spcPct val="200000"/>
              </a:lnSpc>
              <a:buFont typeface="Arial" charset="0"/>
              <a:buNone/>
            </a:pPr>
            <a:r>
              <a:rPr lang="zh-CN" altLang="en-US" b="1" smtClean="0"/>
              <a:t> 没有什么模式别人不可以学习</a:t>
            </a:r>
            <a:endParaRPr lang="en-US" altLang="zh-CN" b="1" smtClean="0"/>
          </a:p>
          <a:p>
            <a:pPr marL="0" indent="0" algn="ctr">
              <a:lnSpc>
                <a:spcPct val="200000"/>
              </a:lnSpc>
              <a:buFont typeface="Arial" charset="0"/>
              <a:buNone/>
            </a:pPr>
            <a:r>
              <a:rPr lang="zh-CN" altLang="en-US" b="1" smtClean="0"/>
              <a:t>技术的领先，商业模式的开创，</a:t>
            </a:r>
            <a:endParaRPr lang="en-US" altLang="zh-CN" b="1" smtClean="0"/>
          </a:p>
          <a:p>
            <a:pPr marL="0" indent="0" algn="ctr">
              <a:lnSpc>
                <a:spcPct val="200000"/>
              </a:lnSpc>
              <a:buFont typeface="Arial" charset="0"/>
              <a:buNone/>
            </a:pPr>
            <a:r>
              <a:rPr lang="zh-CN" altLang="en-US" b="1" smtClean="0"/>
              <a:t>实际上都只给你留下了一个时间窗口</a:t>
            </a:r>
            <a:endParaRPr lang="en-US" altLang="zh-CN" b="1" smtClean="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D7162249-C32A-45AA-865A-78B9F1CE9648}" type="slidenum">
              <a:rPr lang="zh-CN" altLang="en-US"/>
              <a:pPr defTabSz="912813" fontAlgn="base">
                <a:spcBef>
                  <a:spcPct val="0"/>
                </a:spcBef>
                <a:spcAft>
                  <a:spcPct val="0"/>
                </a:spcAft>
              </a:pPr>
              <a:t>37</a:t>
            </a:fld>
            <a:endParaRPr lang="en-US" altLang="zh-CN"/>
          </a:p>
        </p:txBody>
      </p:sp>
      <p:sp>
        <p:nvSpPr>
          <p:cNvPr id="10" name="副标题 5"/>
          <p:cNvSpPr txBox="1">
            <a:spLocks/>
          </p:cNvSpPr>
          <p:nvPr/>
        </p:nvSpPr>
        <p:spPr>
          <a:xfrm>
            <a:off x="285750" y="452438"/>
            <a:ext cx="10763250" cy="1047750"/>
          </a:xfrm>
          <a:prstGeom prst="rect">
            <a:avLst/>
          </a:prstGeom>
        </p:spPr>
        <p:txBody>
          <a:bodyPr lIns="121920" tIns="60960" rIns="121920" bIns="60960"/>
          <a:lstStyle/>
          <a:p>
            <a:pPr algn="just">
              <a:lnSpc>
                <a:spcPct val="150000"/>
              </a:lnSpc>
              <a:spcBef>
                <a:spcPct val="20000"/>
              </a:spcBef>
            </a:pPr>
            <a:r>
              <a:rPr lang="en-US" altLang="zh-CN" sz="4200" b="1">
                <a:solidFill>
                  <a:schemeClr val="bg1"/>
                </a:solidFill>
                <a:latin typeface="黑体" pitchFamily="49" charset="-122"/>
                <a:ea typeface="黑体" pitchFamily="49" charset="-122"/>
              </a:rPr>
              <a:t>4.</a:t>
            </a:r>
            <a:r>
              <a:rPr lang="zh-CN" altLang="en-US" sz="4200" b="1">
                <a:solidFill>
                  <a:schemeClr val="bg1"/>
                </a:solidFill>
                <a:latin typeface="黑体" pitchFamily="49" charset="-122"/>
                <a:ea typeface="黑体" pitchFamily="49" charset="-122"/>
              </a:rPr>
              <a:t>开创新品类</a:t>
            </a:r>
            <a:endParaRPr lang="en-US" altLang="zh-CN" sz="4200" b="1">
              <a:solidFill>
                <a:schemeClr val="bg1"/>
              </a:solidFill>
              <a:latin typeface="黑体" pitchFamily="49" charset="-122"/>
              <a:ea typeface="黑体" pitchFamily="49" charset="-122"/>
            </a:endParaRPr>
          </a:p>
        </p:txBody>
      </p:sp>
      <p:grpSp>
        <p:nvGrpSpPr>
          <p:cNvPr id="83971" name="组 4"/>
          <p:cNvGrpSpPr>
            <a:grpSpLocks/>
          </p:cNvGrpSpPr>
          <p:nvPr/>
        </p:nvGrpSpPr>
        <p:grpSpPr bwMode="auto">
          <a:xfrm>
            <a:off x="4295775" y="2192338"/>
            <a:ext cx="3263900" cy="4313237"/>
            <a:chOff x="734770" y="1490788"/>
            <a:chExt cx="2448272" cy="3234653"/>
          </a:xfrm>
        </p:grpSpPr>
        <p:pic>
          <p:nvPicPr>
            <p:cNvPr id="9" name="图片 8"/>
            <p:cNvPicPr>
              <a:picLocks noChangeAspect="1"/>
            </p:cNvPicPr>
            <p:nvPr/>
          </p:nvPicPr>
          <p:blipFill>
            <a:blip r:embed="rId3"/>
            <a:srcRect/>
            <a:stretch>
              <a:fillRect/>
            </a:stretch>
          </p:blipFill>
          <p:spPr bwMode="auto">
            <a:xfrm>
              <a:off x="808854" y="1561956"/>
              <a:ext cx="2300104" cy="3092319"/>
            </a:xfrm>
            <a:prstGeom prst="rect">
              <a:avLst/>
            </a:prstGeom>
            <a:noFill/>
            <a:ln w="9525">
              <a:noFill/>
              <a:miter lim="800000"/>
              <a:headEnd/>
              <a:tailEnd/>
            </a:ln>
            <a:effectLst>
              <a:outerShdw dist="139700" dir="2700000" algn="tl" rotWithShape="0">
                <a:srgbClr val="333333">
                  <a:alpha val="64999"/>
                </a:srgbClr>
              </a:outerShdw>
            </a:effectLst>
          </p:spPr>
        </p:pic>
        <p:pic>
          <p:nvPicPr>
            <p:cNvPr id="83979" name="图片 7"/>
            <p:cNvPicPr>
              <a:picLocks noChangeAspect="1"/>
            </p:cNvPicPr>
            <p:nvPr/>
          </p:nvPicPr>
          <p:blipFill>
            <a:blip r:embed="rId4"/>
            <a:srcRect/>
            <a:stretch>
              <a:fillRect/>
            </a:stretch>
          </p:blipFill>
          <p:spPr bwMode="auto">
            <a:xfrm>
              <a:off x="734770" y="1490788"/>
              <a:ext cx="2448272" cy="3234653"/>
            </a:xfrm>
            <a:prstGeom prst="rect">
              <a:avLst/>
            </a:prstGeom>
            <a:noFill/>
            <a:ln w="9525">
              <a:noFill/>
              <a:miter lim="800000"/>
              <a:headEnd/>
              <a:tailEnd/>
            </a:ln>
          </p:spPr>
        </p:pic>
      </p:grpSp>
      <p:grpSp>
        <p:nvGrpSpPr>
          <p:cNvPr id="83972" name="组 12"/>
          <p:cNvGrpSpPr>
            <a:grpSpLocks/>
          </p:cNvGrpSpPr>
          <p:nvPr/>
        </p:nvGrpSpPr>
        <p:grpSpPr bwMode="auto">
          <a:xfrm>
            <a:off x="8399463" y="2181225"/>
            <a:ext cx="3265487" cy="4313238"/>
            <a:chOff x="6299762" y="1703719"/>
            <a:chExt cx="2448272" cy="3234653"/>
          </a:xfrm>
        </p:grpSpPr>
        <p:pic>
          <p:nvPicPr>
            <p:cNvPr id="83976" name="图片 2"/>
            <p:cNvPicPr>
              <a:picLocks noChangeAspect="1"/>
            </p:cNvPicPr>
            <p:nvPr/>
          </p:nvPicPr>
          <p:blipFill>
            <a:blip r:embed="rId5"/>
            <a:srcRect/>
            <a:stretch>
              <a:fillRect/>
            </a:stretch>
          </p:blipFill>
          <p:spPr bwMode="auto">
            <a:xfrm>
              <a:off x="6444208" y="1833354"/>
              <a:ext cx="2159380" cy="2970644"/>
            </a:xfrm>
            <a:prstGeom prst="rect">
              <a:avLst/>
            </a:prstGeom>
            <a:noFill/>
            <a:ln w="9525">
              <a:noFill/>
              <a:miter lim="800000"/>
              <a:headEnd/>
              <a:tailEnd/>
            </a:ln>
          </p:spPr>
        </p:pic>
        <p:pic>
          <p:nvPicPr>
            <p:cNvPr id="83977" name="图片 11"/>
            <p:cNvPicPr>
              <a:picLocks noChangeAspect="1"/>
            </p:cNvPicPr>
            <p:nvPr/>
          </p:nvPicPr>
          <p:blipFill>
            <a:blip r:embed="rId4"/>
            <a:srcRect/>
            <a:stretch>
              <a:fillRect/>
            </a:stretch>
          </p:blipFill>
          <p:spPr bwMode="auto">
            <a:xfrm>
              <a:off x="6299762" y="1703719"/>
              <a:ext cx="2448272" cy="3234653"/>
            </a:xfrm>
            <a:prstGeom prst="rect">
              <a:avLst/>
            </a:prstGeom>
            <a:noFill/>
            <a:ln w="9525">
              <a:noFill/>
              <a:miter lim="800000"/>
              <a:headEnd/>
              <a:tailEnd/>
            </a:ln>
          </p:spPr>
        </p:pic>
      </p:grpSp>
      <p:grpSp>
        <p:nvGrpSpPr>
          <p:cNvPr id="83973" name="组 1"/>
          <p:cNvGrpSpPr>
            <a:grpSpLocks/>
          </p:cNvGrpSpPr>
          <p:nvPr/>
        </p:nvGrpSpPr>
        <p:grpSpPr bwMode="auto">
          <a:xfrm>
            <a:off x="439738" y="2178050"/>
            <a:ext cx="3263900" cy="4313238"/>
            <a:chOff x="4206825" y="1631086"/>
            <a:chExt cx="2448272" cy="3234653"/>
          </a:xfrm>
        </p:grpSpPr>
        <p:pic>
          <p:nvPicPr>
            <p:cNvPr id="15" name="图片 14"/>
            <p:cNvPicPr>
              <a:picLocks noChangeAspect="1" noChangeArrowheads="1"/>
            </p:cNvPicPr>
            <p:nvPr/>
          </p:nvPicPr>
          <p:blipFill>
            <a:blip r:embed="rId6"/>
            <a:srcRect/>
            <a:stretch>
              <a:fillRect/>
            </a:stretch>
          </p:blipFill>
          <p:spPr bwMode="auto">
            <a:xfrm>
              <a:off x="4279321" y="1616298"/>
              <a:ext cx="2299716" cy="3236976"/>
            </a:xfrm>
            <a:prstGeom prst="rect">
              <a:avLst/>
            </a:prstGeom>
            <a:noFill/>
          </p:spPr>
        </p:pic>
        <p:pic>
          <p:nvPicPr>
            <p:cNvPr id="83975" name="图片 15"/>
            <p:cNvPicPr>
              <a:picLocks noChangeAspect="1"/>
            </p:cNvPicPr>
            <p:nvPr/>
          </p:nvPicPr>
          <p:blipFill>
            <a:blip r:embed="rId4"/>
            <a:srcRect/>
            <a:stretch>
              <a:fillRect/>
            </a:stretch>
          </p:blipFill>
          <p:spPr bwMode="auto">
            <a:xfrm>
              <a:off x="4206825" y="1631086"/>
              <a:ext cx="2448272" cy="3234653"/>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18A9224F-DA15-41FB-9FD1-A509BA3A0494}" type="slidenum">
              <a:rPr lang="zh-CN" altLang="en-US">
                <a:latin typeface="黑体" pitchFamily="49" charset="-122"/>
                <a:ea typeface="黑体" pitchFamily="49" charset="-122"/>
              </a:rPr>
              <a:pPr defTabSz="912813" fontAlgn="base">
                <a:spcBef>
                  <a:spcPct val="0"/>
                </a:spcBef>
                <a:spcAft>
                  <a:spcPct val="0"/>
                </a:spcAft>
              </a:pPr>
              <a:t>38</a:t>
            </a:fld>
            <a:endParaRPr lang="en-US" altLang="zh-CN">
              <a:latin typeface="黑体" pitchFamily="49" charset="-122"/>
              <a:ea typeface="黑体" pitchFamily="49" charset="-122"/>
            </a:endParaRPr>
          </a:p>
        </p:txBody>
      </p:sp>
      <p:sp>
        <p:nvSpPr>
          <p:cNvPr id="86018" name="副标题 5"/>
          <p:cNvSpPr txBox="1">
            <a:spLocks/>
          </p:cNvSpPr>
          <p:nvPr/>
        </p:nvSpPr>
        <p:spPr bwMode="auto">
          <a:xfrm>
            <a:off x="762000" y="1700213"/>
            <a:ext cx="10763250" cy="762000"/>
          </a:xfrm>
          <a:prstGeom prst="rect">
            <a:avLst/>
          </a:prstGeom>
          <a:noFill/>
          <a:ln w="9525">
            <a:noFill/>
            <a:miter lim="800000"/>
            <a:headEnd/>
            <a:tailEnd/>
          </a:ln>
        </p:spPr>
        <p:txBody>
          <a:bodyPr lIns="121920" tIns="60960" rIns="121920" bIns="60960"/>
          <a:lstStyle/>
          <a:p>
            <a:pPr marL="608013" indent="-608013" defTabSz="1217613">
              <a:spcBef>
                <a:spcPct val="20000"/>
              </a:spcBef>
            </a:pPr>
            <a:endParaRPr lang="en-US" altLang="zh-CN" sz="3200" b="1">
              <a:latin typeface="黑体" pitchFamily="49" charset="-122"/>
              <a:ea typeface="黑体" pitchFamily="49" charset="-122"/>
            </a:endParaRPr>
          </a:p>
        </p:txBody>
      </p:sp>
      <p:sp>
        <p:nvSpPr>
          <p:cNvPr id="86019" name="副标题 5"/>
          <p:cNvSpPr txBox="1">
            <a:spLocks/>
          </p:cNvSpPr>
          <p:nvPr/>
        </p:nvSpPr>
        <p:spPr bwMode="auto">
          <a:xfrm>
            <a:off x="890588" y="1319213"/>
            <a:ext cx="10763250" cy="762000"/>
          </a:xfrm>
          <a:prstGeom prst="rect">
            <a:avLst/>
          </a:prstGeom>
          <a:noFill/>
          <a:ln w="9525">
            <a:noFill/>
            <a:miter lim="800000"/>
            <a:headEnd/>
            <a:tailEnd/>
          </a:ln>
        </p:spPr>
        <p:txBody>
          <a:bodyPr lIns="121920" tIns="60960" rIns="121920" bIns="60960"/>
          <a:lstStyle/>
          <a:p>
            <a:pPr algn="ctr">
              <a:spcBef>
                <a:spcPct val="20000"/>
              </a:spcBef>
            </a:pPr>
            <a:r>
              <a:rPr lang="zh-CN" altLang="en-US" sz="3200">
                <a:latin typeface="黑体" pitchFamily="49" charset="-122"/>
                <a:ea typeface="黑体" pitchFamily="49" charset="-122"/>
              </a:rPr>
              <a:t> 一条好的主</a:t>
            </a:r>
            <a:r>
              <a:rPr lang="zh-CN" altLang="zh-CN" sz="3200">
                <a:latin typeface="黑体" pitchFamily="49" charset="-122"/>
                <a:ea typeface="黑体" pitchFamily="49" charset="-122"/>
              </a:rPr>
              <a:t>广告语应同时符合以下三</a:t>
            </a:r>
            <a:r>
              <a:rPr lang="zh-CN" altLang="en-US" sz="3200">
                <a:latin typeface="黑体" pitchFamily="49" charset="-122"/>
                <a:ea typeface="黑体" pitchFamily="49" charset="-122"/>
              </a:rPr>
              <a:t>条</a:t>
            </a:r>
            <a:r>
              <a:rPr lang="zh-CN" altLang="zh-CN" sz="3200">
                <a:latin typeface="黑体" pitchFamily="49" charset="-122"/>
                <a:ea typeface="黑体" pitchFamily="49" charset="-122"/>
              </a:rPr>
              <a:t>标准：</a:t>
            </a:r>
            <a:endParaRPr lang="en-US" altLang="zh-CN" sz="3200" b="1">
              <a:latin typeface="黑体" pitchFamily="49" charset="-122"/>
              <a:ea typeface="黑体" pitchFamily="49" charset="-122"/>
            </a:endParaRPr>
          </a:p>
        </p:txBody>
      </p:sp>
      <p:sp>
        <p:nvSpPr>
          <p:cNvPr id="8" name="副标题 5"/>
          <p:cNvSpPr txBox="1">
            <a:spLocks/>
          </p:cNvSpPr>
          <p:nvPr/>
        </p:nvSpPr>
        <p:spPr>
          <a:xfrm>
            <a:off x="1073150" y="2373313"/>
            <a:ext cx="10515600" cy="4051300"/>
          </a:xfrm>
          <a:prstGeom prst="rect">
            <a:avLst/>
          </a:prstGeom>
        </p:spPr>
        <p:txBody>
          <a:bodyPr lIns="121920" tIns="60960" rIns="121920" bIns="60960"/>
          <a:lstStyle/>
          <a:p>
            <a:pPr marL="455613" indent="-455613">
              <a:lnSpc>
                <a:spcPct val="150000"/>
              </a:lnSpc>
              <a:buFont typeface="Arial" charset="0"/>
              <a:buChar char="•"/>
            </a:pPr>
            <a:r>
              <a:rPr lang="zh-CN" altLang="en-US" sz="3700">
                <a:solidFill>
                  <a:srgbClr val="FF0000"/>
                </a:solidFill>
                <a:latin typeface="黑体" pitchFamily="49" charset="-122"/>
                <a:ea typeface="黑体" pitchFamily="49" charset="-122"/>
              </a:rPr>
              <a:t>顾客认不认？ </a:t>
            </a:r>
            <a:endParaRPr lang="en-US" altLang="zh-CN" sz="3700">
              <a:solidFill>
                <a:srgbClr val="FF0000"/>
              </a:solidFill>
              <a:latin typeface="黑体" pitchFamily="49" charset="-122"/>
              <a:ea typeface="黑体" pitchFamily="49" charset="-122"/>
            </a:endParaRPr>
          </a:p>
          <a:p>
            <a:pPr marL="455613" indent="-455613">
              <a:lnSpc>
                <a:spcPct val="150000"/>
              </a:lnSpc>
              <a:buFont typeface="Arial" charset="0"/>
              <a:buChar char="•"/>
            </a:pPr>
            <a:r>
              <a:rPr lang="zh-CN" altLang="en-US" sz="2100">
                <a:latin typeface="黑体" pitchFamily="49" charset="-122"/>
                <a:ea typeface="黑体" pitchFamily="49" charset="-122"/>
              </a:rPr>
              <a:t>能让</a:t>
            </a:r>
            <a:r>
              <a:rPr lang="zh-CN" altLang="zh-CN" sz="2100">
                <a:latin typeface="黑体" pitchFamily="49" charset="-122"/>
                <a:ea typeface="黑体" pitchFamily="49" charset="-122"/>
              </a:rPr>
              <a:t>消费</a:t>
            </a:r>
            <a:r>
              <a:rPr lang="zh-CN" altLang="en-US" sz="2100">
                <a:latin typeface="黑体" pitchFamily="49" charset="-122"/>
                <a:ea typeface="黑体" pitchFamily="49" charset="-122"/>
              </a:rPr>
              <a:t>者理解和记忆</a:t>
            </a:r>
            <a:r>
              <a:rPr lang="zh-CN" altLang="zh-CN" sz="2100">
                <a:latin typeface="黑体" pitchFamily="49" charset="-122"/>
                <a:ea typeface="黑体" pitchFamily="49" charset="-122"/>
              </a:rPr>
              <a:t>，</a:t>
            </a:r>
            <a:r>
              <a:rPr lang="zh-CN" altLang="en-US" sz="2100">
                <a:latin typeface="黑体" pitchFamily="49" charset="-122"/>
                <a:ea typeface="黑体" pitchFamily="49" charset="-122"/>
              </a:rPr>
              <a:t>并范导口碑形成</a:t>
            </a:r>
            <a:r>
              <a:rPr lang="zh-CN" altLang="zh-CN" sz="2100">
                <a:latin typeface="黑体" pitchFamily="49" charset="-122"/>
                <a:ea typeface="黑体" pitchFamily="49" charset="-122"/>
              </a:rPr>
              <a:t>。</a:t>
            </a:r>
          </a:p>
          <a:p>
            <a:pPr marL="455613" indent="-455613">
              <a:lnSpc>
                <a:spcPct val="150000"/>
              </a:lnSpc>
              <a:buFont typeface="Arial" charset="0"/>
              <a:buChar char="•"/>
            </a:pPr>
            <a:r>
              <a:rPr lang="zh-CN" altLang="en-US" sz="3700">
                <a:solidFill>
                  <a:srgbClr val="FF0000"/>
                </a:solidFill>
                <a:latin typeface="黑体" pitchFamily="49" charset="-122"/>
                <a:ea typeface="黑体" pitchFamily="49" charset="-122"/>
              </a:rPr>
              <a:t>员工用不用？ </a:t>
            </a:r>
            <a:endParaRPr lang="en-US" altLang="zh-CN" sz="3700">
              <a:solidFill>
                <a:srgbClr val="FF0000"/>
              </a:solidFill>
              <a:latin typeface="黑体" pitchFamily="49" charset="-122"/>
              <a:ea typeface="黑体" pitchFamily="49" charset="-122"/>
            </a:endParaRPr>
          </a:p>
          <a:p>
            <a:pPr marL="455613" indent="-455613">
              <a:lnSpc>
                <a:spcPct val="150000"/>
              </a:lnSpc>
              <a:buFont typeface="Arial" charset="0"/>
              <a:buChar char="•"/>
            </a:pPr>
            <a:r>
              <a:rPr lang="zh-CN" altLang="zh-CN">
                <a:latin typeface="黑体" pitchFamily="49" charset="-122"/>
                <a:ea typeface="黑体" pitchFamily="49" charset="-122"/>
              </a:rPr>
              <a:t>销售人员在销售环节中直接使用</a:t>
            </a:r>
            <a:r>
              <a:rPr lang="zh-CN" altLang="en-US">
                <a:latin typeface="黑体" pitchFamily="49" charset="-122"/>
                <a:ea typeface="黑体" pitchFamily="49" charset="-122"/>
              </a:rPr>
              <a:t>广告语</a:t>
            </a:r>
            <a:r>
              <a:rPr lang="zh-CN" altLang="zh-CN">
                <a:latin typeface="黑体" pitchFamily="49" charset="-122"/>
                <a:ea typeface="黑体" pitchFamily="49" charset="-122"/>
              </a:rPr>
              <a:t>。</a:t>
            </a:r>
            <a:endParaRPr lang="en-US" altLang="zh-CN">
              <a:latin typeface="黑体" pitchFamily="49" charset="-122"/>
              <a:ea typeface="黑体" pitchFamily="49" charset="-122"/>
            </a:endParaRPr>
          </a:p>
          <a:p>
            <a:pPr marL="455613" indent="-455613">
              <a:lnSpc>
                <a:spcPct val="150000"/>
              </a:lnSpc>
              <a:buFont typeface="Arial" charset="0"/>
              <a:buChar char="•"/>
            </a:pPr>
            <a:r>
              <a:rPr lang="zh-CN" altLang="en-US" sz="3700">
                <a:solidFill>
                  <a:srgbClr val="FF0000"/>
                </a:solidFill>
                <a:latin typeface="黑体" pitchFamily="49" charset="-122"/>
                <a:ea typeface="黑体" pitchFamily="49" charset="-122"/>
              </a:rPr>
              <a:t>对手恨不恨？ </a:t>
            </a:r>
            <a:endParaRPr lang="en-US" altLang="zh-CN" sz="3700">
              <a:solidFill>
                <a:srgbClr val="FF0000"/>
              </a:solidFill>
              <a:latin typeface="黑体" pitchFamily="49" charset="-122"/>
              <a:ea typeface="黑体" pitchFamily="49" charset="-122"/>
            </a:endParaRPr>
          </a:p>
          <a:p>
            <a:pPr marL="455613" indent="-455613">
              <a:lnSpc>
                <a:spcPct val="150000"/>
              </a:lnSpc>
              <a:buFont typeface="Arial" charset="0"/>
              <a:buChar char="•"/>
            </a:pPr>
            <a:r>
              <a:rPr lang="zh-CN" altLang="en-US">
                <a:latin typeface="黑体" pitchFamily="49" charset="-122"/>
                <a:ea typeface="黑体" pitchFamily="49" charset="-122"/>
              </a:rPr>
              <a:t>广告语</a:t>
            </a:r>
            <a:r>
              <a:rPr lang="zh-CN" altLang="zh-CN">
                <a:latin typeface="黑体" pitchFamily="49" charset="-122"/>
                <a:ea typeface="黑体" pitchFamily="49" charset="-122"/>
              </a:rPr>
              <a:t>让主要竞争对手感到</a:t>
            </a:r>
            <a:r>
              <a:rPr lang="zh-CN" altLang="en-US">
                <a:latin typeface="黑体" pitchFamily="49" charset="-122"/>
                <a:ea typeface="黑体" pitchFamily="49" charset="-122"/>
              </a:rPr>
              <a:t>焦虑不安</a:t>
            </a:r>
            <a:r>
              <a:rPr lang="zh-CN" altLang="zh-CN">
                <a:latin typeface="黑体" pitchFamily="49" charset="-122"/>
                <a:ea typeface="黑体" pitchFamily="49" charset="-122"/>
              </a:rPr>
              <a:t>。</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幻灯片编号占位符 2"/>
          <p:cNvSpPr>
            <a:spLocks noGrp="1"/>
          </p:cNvSpPr>
          <p:nvPr>
            <p:ph type="sldNum" sz="quarter" idx="10"/>
          </p:nvPr>
        </p:nvSpPr>
        <p:spPr bwMode="auto">
          <a:xfrm>
            <a:off x="5135563" y="6424613"/>
            <a:ext cx="2844800" cy="365125"/>
          </a:xfrm>
          <a:noFill/>
          <a:ln>
            <a:miter lim="800000"/>
            <a:headEnd/>
            <a:tailEnd/>
          </a:ln>
        </p:spPr>
        <p:txBody>
          <a:bodyPr vert="horz" wrap="square" lIns="91440" tIns="45720" rIns="91440" bIns="45720" numCol="1" anchor="t" anchorCtr="0" compatLnSpc="1">
            <a:prstTxWarp prst="textNoShape">
              <a:avLst/>
            </a:prstTxWarp>
          </a:bodyPr>
          <a:lstStyle/>
          <a:p>
            <a:pPr algn="l" defTabSz="912813" fontAlgn="base">
              <a:spcBef>
                <a:spcPct val="0"/>
              </a:spcBef>
              <a:spcAft>
                <a:spcPct val="0"/>
              </a:spcAft>
            </a:pPr>
            <a:fld id="{466C12AF-8A5A-4B28-927E-06D3B127744F}" type="slidenum">
              <a:rPr lang="zh-CN" altLang="en-US" sz="1800">
                <a:solidFill>
                  <a:schemeClr val="tx1"/>
                </a:solidFill>
                <a:latin typeface="Calibri Light"/>
              </a:rPr>
              <a:pPr algn="l" defTabSz="912813" fontAlgn="base">
                <a:spcBef>
                  <a:spcPct val="0"/>
                </a:spcBef>
                <a:spcAft>
                  <a:spcPct val="0"/>
                </a:spcAft>
              </a:pPr>
              <a:t>39</a:t>
            </a:fld>
            <a:endParaRPr lang="en-US" altLang="zh-CN" sz="1800">
              <a:solidFill>
                <a:schemeClr val="tx1"/>
              </a:solidFill>
              <a:latin typeface="Calibri Light"/>
            </a:endParaRPr>
          </a:p>
        </p:txBody>
      </p:sp>
      <p:sp>
        <p:nvSpPr>
          <p:cNvPr id="5" name="副标题 5"/>
          <p:cNvSpPr txBox="1">
            <a:spLocks/>
          </p:cNvSpPr>
          <p:nvPr/>
        </p:nvSpPr>
        <p:spPr>
          <a:xfrm>
            <a:off x="431800" y="1797050"/>
            <a:ext cx="10763250" cy="1047750"/>
          </a:xfrm>
          <a:prstGeom prst="rect">
            <a:avLst/>
          </a:prstGeom>
        </p:spPr>
        <p:txBody>
          <a:bodyPr lIns="121920" tIns="60960" rIns="121920" bIns="60960"/>
          <a:lstStyle/>
          <a:p>
            <a:pPr algn="just">
              <a:lnSpc>
                <a:spcPct val="150000"/>
              </a:lnSpc>
              <a:spcBef>
                <a:spcPct val="20000"/>
              </a:spcBef>
            </a:pPr>
            <a:r>
              <a:rPr lang="zh-CN" altLang="en-US" sz="4200" b="1">
                <a:solidFill>
                  <a:srgbClr val="FF0000"/>
                </a:solidFill>
                <a:latin typeface="黑体" pitchFamily="49" charset="-122"/>
                <a:ea typeface="黑体" pitchFamily="49" charset="-122"/>
              </a:rPr>
              <a:t>如何让顾客相信“那句话”？</a:t>
            </a:r>
            <a:endParaRPr lang="en-US" altLang="zh-CN" sz="4200" b="1">
              <a:solidFill>
                <a:srgbClr val="FF0000"/>
              </a:solidFill>
              <a:latin typeface="黑体" pitchFamily="49" charset="-122"/>
              <a:ea typeface="黑体" pitchFamily="49" charset="-122"/>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Footer Placeholder 7"/>
          <p:cNvSpPr>
            <a:spLocks noGrp="1"/>
          </p:cNvSpPr>
          <p:nvPr>
            <p:ph type="ftr" sz="quarter" idx="4294967295"/>
          </p:nvPr>
        </p:nvSpPr>
        <p:spPr bwMode="auto">
          <a:xfrm>
            <a:off x="7321550" y="6438900"/>
            <a:ext cx="4822825" cy="365125"/>
          </a:xfrm>
          <a:prstGeom prst="rect">
            <a:avLst/>
          </a:prstGeom>
          <a:noFill/>
          <a:ln>
            <a:miter lim="800000"/>
            <a:headEnd/>
            <a:tailEnd/>
          </a:ln>
        </p:spPr>
        <p:txBody>
          <a:bodyPr/>
          <a:lstStyle/>
          <a:p>
            <a:pPr algn="r"/>
            <a:endParaRPr lang="en-US" altLang="zh-CN" sz="1400">
              <a:solidFill>
                <a:srgbClr val="FFFFFF"/>
              </a:solidFill>
              <a:latin typeface="华文隶书"/>
              <a:ea typeface="华文隶书"/>
              <a:cs typeface="华文隶书"/>
            </a:endParaRPr>
          </a:p>
        </p:txBody>
      </p:sp>
      <p:sp>
        <p:nvSpPr>
          <p:cNvPr id="37890" name="矩形 1"/>
          <p:cNvSpPr>
            <a:spLocks noChangeArrowheads="1"/>
          </p:cNvSpPr>
          <p:nvPr/>
        </p:nvSpPr>
        <p:spPr bwMode="auto">
          <a:xfrm>
            <a:off x="823913" y="581025"/>
            <a:ext cx="10094912" cy="5140325"/>
          </a:xfrm>
          <a:prstGeom prst="rect">
            <a:avLst/>
          </a:prstGeom>
          <a:noFill/>
          <a:ln w="9525">
            <a:noFill/>
            <a:miter lim="800000"/>
            <a:headEnd/>
            <a:tailEnd/>
          </a:ln>
        </p:spPr>
        <p:txBody>
          <a:bodyPr>
            <a:spAutoFit/>
          </a:bodyPr>
          <a:lstStyle/>
          <a:p>
            <a:r>
              <a:rPr lang="zh-CN" altLang="en-US" sz="4000" b="1">
                <a:solidFill>
                  <a:srgbClr val="FF0000"/>
                </a:solidFill>
                <a:latin typeface="Calibri Light"/>
                <a:ea typeface="微软雅黑" pitchFamily="34" charset="-122"/>
              </a:rPr>
              <a:t>企业经营追求的成果是什么？</a:t>
            </a:r>
            <a:endParaRPr lang="en-US" altLang="zh-CN" sz="4000" b="1">
              <a:solidFill>
                <a:srgbClr val="FF0000"/>
              </a:solidFill>
              <a:latin typeface="Calibri Light"/>
              <a:ea typeface="微软雅黑" pitchFamily="34" charset="-122"/>
            </a:endParaRPr>
          </a:p>
          <a:p>
            <a:endParaRPr lang="en-US" altLang="zh-CN" sz="4000" b="1">
              <a:solidFill>
                <a:srgbClr val="FF0000"/>
              </a:solidFill>
              <a:latin typeface="Calibri Light"/>
              <a:ea typeface="微软雅黑" pitchFamily="34" charset="-122"/>
            </a:endParaRPr>
          </a:p>
          <a:p>
            <a:pPr>
              <a:lnSpc>
                <a:spcPct val="200000"/>
              </a:lnSpc>
            </a:pPr>
            <a:r>
              <a:rPr lang="zh-CN" altLang="en-US" sz="2400" b="1">
                <a:latin typeface="Calibri Light"/>
                <a:ea typeface="微软雅黑" pitchFamily="34" charset="-122"/>
              </a:rPr>
              <a:t>你如何让自己的品牌在顾客的心智阶梯中占据最有利的位置，</a:t>
            </a:r>
            <a:endParaRPr lang="en-US" altLang="zh-CN" sz="2400" b="1">
              <a:latin typeface="Calibri Light"/>
              <a:ea typeface="微软雅黑" pitchFamily="34" charset="-122"/>
            </a:endParaRPr>
          </a:p>
          <a:p>
            <a:pPr>
              <a:lnSpc>
                <a:spcPct val="200000"/>
              </a:lnSpc>
            </a:pPr>
            <a:r>
              <a:rPr lang="zh-CN" altLang="en-US" b="1">
                <a:latin typeface="Calibri Light"/>
                <a:ea typeface="微软雅黑" pitchFamily="34" charset="-122"/>
              </a:rPr>
              <a:t>让品牌在顾客脑子里相对竞争对手成为首选。</a:t>
            </a:r>
            <a:endParaRPr lang="en-US" altLang="zh-CN" b="1">
              <a:latin typeface="Calibri Light"/>
              <a:ea typeface="微软雅黑" pitchFamily="34" charset="-122"/>
            </a:endParaRPr>
          </a:p>
          <a:p>
            <a:pPr>
              <a:lnSpc>
                <a:spcPct val="200000"/>
              </a:lnSpc>
            </a:pPr>
            <a:r>
              <a:rPr lang="zh-CN" altLang="en-US" b="1">
                <a:latin typeface="Calibri Light"/>
                <a:ea typeface="微软雅黑" pitchFamily="34" charset="-122"/>
              </a:rPr>
              <a:t>所以真正要打赢的就是这个认知战。</a:t>
            </a:r>
            <a:endParaRPr lang="en-US" altLang="zh-CN" b="1">
              <a:latin typeface="Calibri Light"/>
              <a:ea typeface="微软雅黑" pitchFamily="34" charset="-122"/>
            </a:endParaRPr>
          </a:p>
          <a:p>
            <a:pPr>
              <a:lnSpc>
                <a:spcPct val="200000"/>
              </a:lnSpc>
            </a:pPr>
            <a:r>
              <a:rPr lang="zh-CN" altLang="en-US" sz="2800" b="1">
                <a:latin typeface="Calibri Light"/>
                <a:ea typeface="微软雅黑" pitchFamily="34" charset="-122"/>
              </a:rPr>
              <a:t>企业的经营成果是品牌认知，有认知才有选择。</a:t>
            </a:r>
            <a:endParaRPr lang="en-US" altLang="zh-CN" sz="2800" b="1">
              <a:latin typeface="Calibri Light"/>
              <a:ea typeface="微软雅黑" pitchFamily="34" charset="-122"/>
            </a:endParaRPr>
          </a:p>
          <a:p>
            <a:pPr>
              <a:lnSpc>
                <a:spcPct val="200000"/>
              </a:lnSpc>
            </a:pPr>
            <a:r>
              <a:rPr lang="zh-CN" altLang="en-US" b="1">
                <a:latin typeface="Calibri Light"/>
                <a:ea typeface="微软雅黑" pitchFamily="34" charset="-122"/>
              </a:rPr>
              <a:t>企业经营的成果就是在顾客的心智中</a:t>
            </a:r>
            <a:endParaRPr lang="en-US" altLang="zh-CN" b="1">
              <a:latin typeface="Calibri Light"/>
              <a:ea typeface="微软雅黑" pitchFamily="34" charset="-122"/>
            </a:endParaRPr>
          </a:p>
          <a:p>
            <a:pPr>
              <a:lnSpc>
                <a:spcPct val="200000"/>
              </a:lnSpc>
            </a:pPr>
            <a:r>
              <a:rPr lang="zh-CN" altLang="en-US" b="1">
                <a:latin typeface="Calibri Light"/>
                <a:ea typeface="微软雅黑" pitchFamily="34" charset="-122"/>
              </a:rPr>
              <a:t>与竞争对手形成有利的差异化，构建品牌的认知优势。</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835B2C6F-AA19-4FA1-AA22-D7E53175B657}" type="slidenum">
              <a:rPr lang="zh-CN" altLang="en-US">
                <a:latin typeface="黑体" pitchFamily="49" charset="-122"/>
                <a:ea typeface="黑体" pitchFamily="49" charset="-122"/>
              </a:rPr>
              <a:pPr defTabSz="912813" fontAlgn="base">
                <a:spcBef>
                  <a:spcPct val="0"/>
                </a:spcBef>
                <a:spcAft>
                  <a:spcPct val="0"/>
                </a:spcAft>
              </a:pPr>
              <a:t>40</a:t>
            </a:fld>
            <a:endParaRPr lang="en-US" altLang="zh-CN">
              <a:latin typeface="黑体" pitchFamily="49" charset="-122"/>
              <a:ea typeface="黑体" pitchFamily="49" charset="-122"/>
            </a:endParaRPr>
          </a:p>
        </p:txBody>
      </p:sp>
      <p:sp>
        <p:nvSpPr>
          <p:cNvPr id="89090" name="副标题 5"/>
          <p:cNvSpPr txBox="1">
            <a:spLocks/>
          </p:cNvSpPr>
          <p:nvPr/>
        </p:nvSpPr>
        <p:spPr bwMode="auto">
          <a:xfrm>
            <a:off x="762000" y="1700213"/>
            <a:ext cx="10763250" cy="762000"/>
          </a:xfrm>
          <a:prstGeom prst="rect">
            <a:avLst/>
          </a:prstGeom>
          <a:noFill/>
          <a:ln w="9525">
            <a:noFill/>
            <a:miter lim="800000"/>
            <a:headEnd/>
            <a:tailEnd/>
          </a:ln>
        </p:spPr>
        <p:txBody>
          <a:bodyPr lIns="121920" tIns="60960" rIns="121920" bIns="60960"/>
          <a:lstStyle/>
          <a:p>
            <a:pPr marL="608013" indent="-608013" defTabSz="1217613">
              <a:spcBef>
                <a:spcPct val="20000"/>
              </a:spcBef>
            </a:pPr>
            <a:endParaRPr lang="en-US" altLang="zh-CN" sz="3200" b="1">
              <a:latin typeface="黑体" pitchFamily="49" charset="-122"/>
              <a:ea typeface="黑体" pitchFamily="49" charset="-122"/>
            </a:endParaRPr>
          </a:p>
        </p:txBody>
      </p:sp>
      <p:sp>
        <p:nvSpPr>
          <p:cNvPr id="2" name="矩形 1"/>
          <p:cNvSpPr/>
          <p:nvPr/>
        </p:nvSpPr>
        <p:spPr>
          <a:xfrm>
            <a:off x="762000" y="2565400"/>
            <a:ext cx="4329113" cy="3046413"/>
          </a:xfrm>
          <a:prstGeom prst="rect">
            <a:avLst/>
          </a:prstGeom>
        </p:spPr>
        <p:txBody>
          <a:bodyPr>
            <a:spAutoFit/>
          </a:bodyPr>
          <a:lstStyle/>
          <a:p>
            <a:pPr algn="just">
              <a:lnSpc>
                <a:spcPct val="150000"/>
              </a:lnSpc>
            </a:pPr>
            <a:r>
              <a:rPr lang="en-US" altLang="zh-CN" sz="3200" b="1">
                <a:solidFill>
                  <a:srgbClr val="262626"/>
                </a:solidFill>
                <a:latin typeface="黑体" pitchFamily="49" charset="-122"/>
                <a:ea typeface="黑体" pitchFamily="49" charset="-122"/>
              </a:rPr>
              <a:t>1.</a:t>
            </a:r>
            <a:r>
              <a:rPr lang="zh-CN" altLang="en-US" sz="3200" b="1">
                <a:solidFill>
                  <a:srgbClr val="262626"/>
                </a:solidFill>
                <a:latin typeface="黑体" pitchFamily="49" charset="-122"/>
                <a:ea typeface="黑体" pitchFamily="49" charset="-122"/>
              </a:rPr>
              <a:t>热销</a:t>
            </a:r>
            <a:endParaRPr lang="en-US" altLang="zh-CN" sz="3200" b="1">
              <a:solidFill>
                <a:srgbClr val="262626"/>
              </a:solidFill>
              <a:latin typeface="黑体" pitchFamily="49" charset="-122"/>
              <a:ea typeface="黑体" pitchFamily="49" charset="-122"/>
            </a:endParaRPr>
          </a:p>
          <a:p>
            <a:pPr algn="just">
              <a:lnSpc>
                <a:spcPct val="150000"/>
              </a:lnSpc>
            </a:pPr>
            <a:r>
              <a:rPr lang="en-US" altLang="zh-CN" sz="3200" b="1">
                <a:solidFill>
                  <a:srgbClr val="262626"/>
                </a:solidFill>
                <a:latin typeface="黑体" pitchFamily="49" charset="-122"/>
                <a:ea typeface="黑体" pitchFamily="49" charset="-122"/>
              </a:rPr>
              <a:t>2.</a:t>
            </a:r>
            <a:r>
              <a:rPr lang="zh-CN" altLang="en-US" sz="3200" b="1">
                <a:solidFill>
                  <a:srgbClr val="262626"/>
                </a:solidFill>
                <a:latin typeface="黑体" pitchFamily="49" charset="-122"/>
                <a:ea typeface="黑体" pitchFamily="49" charset="-122"/>
              </a:rPr>
              <a:t>最受意见领袖青睐</a:t>
            </a:r>
            <a:endParaRPr lang="en-US" altLang="zh-CN" sz="3200" b="1">
              <a:solidFill>
                <a:srgbClr val="262626"/>
              </a:solidFill>
              <a:latin typeface="黑体" pitchFamily="49" charset="-122"/>
              <a:ea typeface="黑体" pitchFamily="49" charset="-122"/>
            </a:endParaRPr>
          </a:p>
          <a:p>
            <a:pPr algn="just">
              <a:lnSpc>
                <a:spcPct val="150000"/>
              </a:lnSpc>
            </a:pPr>
            <a:r>
              <a:rPr lang="en-US" altLang="zh-CN" sz="3200" b="1">
                <a:solidFill>
                  <a:srgbClr val="262626"/>
                </a:solidFill>
                <a:latin typeface="黑体" pitchFamily="49" charset="-122"/>
                <a:ea typeface="黑体" pitchFamily="49" charset="-122"/>
              </a:rPr>
              <a:t>3.</a:t>
            </a:r>
            <a:r>
              <a:rPr lang="zh-CN" altLang="en-US" sz="3200" b="1">
                <a:solidFill>
                  <a:srgbClr val="262626"/>
                </a:solidFill>
                <a:latin typeface="黑体" pitchFamily="49" charset="-122"/>
                <a:ea typeface="黑体" pitchFamily="49" charset="-122"/>
              </a:rPr>
              <a:t>领导品牌</a:t>
            </a:r>
            <a:endParaRPr lang="en-US" altLang="zh-CN" sz="3200" b="1">
              <a:solidFill>
                <a:srgbClr val="262626"/>
              </a:solidFill>
              <a:latin typeface="黑体" pitchFamily="49" charset="-122"/>
              <a:ea typeface="黑体" pitchFamily="49" charset="-122"/>
            </a:endParaRPr>
          </a:p>
          <a:p>
            <a:pPr algn="just">
              <a:lnSpc>
                <a:spcPct val="150000"/>
              </a:lnSpc>
            </a:pPr>
            <a:r>
              <a:rPr lang="en-US" altLang="zh-CN" sz="3200" b="1">
                <a:solidFill>
                  <a:srgbClr val="262626"/>
                </a:solidFill>
                <a:latin typeface="黑体" pitchFamily="49" charset="-122"/>
                <a:ea typeface="黑体" pitchFamily="49" charset="-122"/>
              </a:rPr>
              <a:t>4.</a:t>
            </a:r>
            <a:r>
              <a:rPr lang="zh-CN" altLang="en-US" sz="3200" b="1">
                <a:solidFill>
                  <a:srgbClr val="262626"/>
                </a:solidFill>
                <a:latin typeface="黑体" pitchFamily="49" charset="-122"/>
                <a:ea typeface="黑体" pitchFamily="49" charset="-122"/>
              </a:rPr>
              <a:t>专家品牌</a:t>
            </a:r>
            <a:endParaRPr lang="en-US" altLang="zh-CN" sz="3200" b="1">
              <a:solidFill>
                <a:srgbClr val="262626"/>
              </a:solidFill>
              <a:latin typeface="黑体" pitchFamily="49" charset="-122"/>
              <a:ea typeface="黑体" pitchFamily="49" charset="-122"/>
            </a:endParaRPr>
          </a:p>
        </p:txBody>
      </p:sp>
      <p:sp>
        <p:nvSpPr>
          <p:cNvPr id="7" name="副标题 5"/>
          <p:cNvSpPr txBox="1">
            <a:spLocks/>
          </p:cNvSpPr>
          <p:nvPr/>
        </p:nvSpPr>
        <p:spPr>
          <a:xfrm>
            <a:off x="804863" y="1316038"/>
            <a:ext cx="10763250" cy="1047750"/>
          </a:xfrm>
          <a:prstGeom prst="rect">
            <a:avLst/>
          </a:prstGeom>
        </p:spPr>
        <p:txBody>
          <a:bodyPr lIns="121920" tIns="60960" rIns="121920" bIns="60960"/>
          <a:lstStyle/>
          <a:p>
            <a:pPr algn="just">
              <a:lnSpc>
                <a:spcPct val="150000"/>
              </a:lnSpc>
              <a:spcBef>
                <a:spcPct val="20000"/>
              </a:spcBef>
            </a:pPr>
            <a:r>
              <a:rPr lang="zh-CN" altLang="en-US" sz="4200" b="1">
                <a:latin typeface="黑体" pitchFamily="49" charset="-122"/>
                <a:ea typeface="黑体" pitchFamily="49" charset="-122"/>
              </a:rPr>
              <a:t>七种常用信任状</a:t>
            </a:r>
            <a:endParaRPr lang="en-US" altLang="zh-CN" sz="4200" b="1">
              <a:latin typeface="黑体" pitchFamily="49" charset="-122"/>
              <a:ea typeface="黑体" pitchFamily="49" charset="-122"/>
            </a:endParaRPr>
          </a:p>
        </p:txBody>
      </p:sp>
      <p:sp>
        <p:nvSpPr>
          <p:cNvPr id="3" name="文本框 2"/>
          <p:cNvSpPr txBox="1"/>
          <p:nvPr/>
        </p:nvSpPr>
        <p:spPr>
          <a:xfrm>
            <a:off x="5091113" y="2565400"/>
            <a:ext cx="2889250" cy="2505075"/>
          </a:xfrm>
          <a:prstGeom prst="rect">
            <a:avLst/>
          </a:prstGeom>
          <a:noFill/>
        </p:spPr>
        <p:txBody>
          <a:bodyPr>
            <a:spAutoFit/>
          </a:bodyPr>
          <a:lstStyle/>
          <a:p>
            <a:pPr>
              <a:lnSpc>
                <a:spcPct val="150000"/>
              </a:lnSpc>
              <a:spcBef>
                <a:spcPct val="20000"/>
              </a:spcBef>
            </a:pPr>
            <a:r>
              <a:rPr lang="en-US" altLang="zh-CN" sz="3200" b="1">
                <a:solidFill>
                  <a:srgbClr val="262626"/>
                </a:solidFill>
                <a:latin typeface="黑体" pitchFamily="49" charset="-122"/>
                <a:ea typeface="黑体" pitchFamily="49" charset="-122"/>
              </a:rPr>
              <a:t>5.</a:t>
            </a:r>
            <a:r>
              <a:rPr lang="zh-CN" altLang="en-US" sz="3200" b="1">
                <a:solidFill>
                  <a:srgbClr val="262626"/>
                </a:solidFill>
                <a:latin typeface="黑体" pitchFamily="49" charset="-122"/>
                <a:ea typeface="黑体" pitchFamily="49" charset="-122"/>
              </a:rPr>
              <a:t>历史悠久</a:t>
            </a:r>
            <a:endParaRPr lang="en-US" altLang="zh-CN" sz="3200" b="1">
              <a:solidFill>
                <a:srgbClr val="262626"/>
              </a:solidFill>
              <a:latin typeface="黑体" pitchFamily="49" charset="-122"/>
              <a:ea typeface="黑体" pitchFamily="49" charset="-122"/>
            </a:endParaRPr>
          </a:p>
          <a:p>
            <a:pPr>
              <a:lnSpc>
                <a:spcPct val="150000"/>
              </a:lnSpc>
              <a:spcBef>
                <a:spcPct val="20000"/>
              </a:spcBef>
            </a:pPr>
            <a:r>
              <a:rPr lang="en-US" altLang="zh-CN" sz="3200" b="1">
                <a:solidFill>
                  <a:srgbClr val="262626"/>
                </a:solidFill>
                <a:latin typeface="黑体" pitchFamily="49" charset="-122"/>
                <a:ea typeface="黑体" pitchFamily="49" charset="-122"/>
              </a:rPr>
              <a:t>6.</a:t>
            </a:r>
            <a:r>
              <a:rPr lang="zh-CN" altLang="zh-CN" sz="3200" b="1">
                <a:solidFill>
                  <a:srgbClr val="262626"/>
                </a:solidFill>
                <a:latin typeface="黑体" pitchFamily="49" charset="-122"/>
                <a:ea typeface="黑体" pitchFamily="49" charset="-122"/>
              </a:rPr>
              <a:t>开创者</a:t>
            </a:r>
            <a:endParaRPr lang="en-US" altLang="zh-CN" sz="3200" b="1">
              <a:solidFill>
                <a:srgbClr val="262626"/>
              </a:solidFill>
              <a:latin typeface="黑体" pitchFamily="49" charset="-122"/>
              <a:ea typeface="黑体" pitchFamily="49" charset="-122"/>
            </a:endParaRPr>
          </a:p>
          <a:p>
            <a:pPr>
              <a:lnSpc>
                <a:spcPct val="150000"/>
              </a:lnSpc>
              <a:spcBef>
                <a:spcPct val="20000"/>
              </a:spcBef>
            </a:pPr>
            <a:r>
              <a:rPr lang="en-US" altLang="zh-CN" sz="3200" b="1">
                <a:solidFill>
                  <a:srgbClr val="262626"/>
                </a:solidFill>
                <a:latin typeface="黑体" pitchFamily="49" charset="-122"/>
                <a:ea typeface="黑体" pitchFamily="49" charset="-122"/>
              </a:rPr>
              <a:t>7.</a:t>
            </a:r>
            <a:r>
              <a:rPr lang="zh-CN" altLang="zh-CN" sz="3200" b="1">
                <a:solidFill>
                  <a:srgbClr val="262626"/>
                </a:solidFill>
                <a:latin typeface="黑体" pitchFamily="49" charset="-122"/>
                <a:ea typeface="黑体" pitchFamily="49" charset="-122"/>
              </a:rPr>
              <a:t>制造方法</a:t>
            </a:r>
            <a:endParaRPr lang="en-US" altLang="zh-CN" sz="3200" b="1">
              <a:solidFill>
                <a:srgbClr val="262626"/>
              </a:solidFill>
              <a:latin typeface="黑体" pitchFamily="49" charset="-122"/>
              <a:ea typeface="黑体" pitchFamily="49" charset="-122"/>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9CCA170E-56B7-4E6A-86C7-4798C86B81F6}" type="slidenum">
              <a:rPr lang="zh-CN" altLang="en-US"/>
              <a:pPr defTabSz="912813" fontAlgn="base">
                <a:spcBef>
                  <a:spcPct val="0"/>
                </a:spcBef>
                <a:spcAft>
                  <a:spcPct val="0"/>
                </a:spcAft>
              </a:pPr>
              <a:t>41</a:t>
            </a:fld>
            <a:endParaRPr lang="en-US" altLang="zh-CN"/>
          </a:p>
        </p:txBody>
      </p:sp>
      <p:sp>
        <p:nvSpPr>
          <p:cNvPr id="91138" name="文本框 4"/>
          <p:cNvSpPr txBox="1">
            <a:spLocks noChangeArrowheads="1"/>
          </p:cNvSpPr>
          <p:nvPr/>
        </p:nvSpPr>
        <p:spPr bwMode="auto">
          <a:xfrm>
            <a:off x="1103313" y="3695700"/>
            <a:ext cx="10125075" cy="2012950"/>
          </a:xfrm>
          <a:prstGeom prst="rect">
            <a:avLst/>
          </a:prstGeom>
          <a:noFill/>
          <a:ln w="9525">
            <a:noFill/>
            <a:miter lim="800000"/>
            <a:headEnd/>
            <a:tailEnd/>
          </a:ln>
        </p:spPr>
        <p:txBody>
          <a:bodyPr>
            <a:spAutoFit/>
          </a:bodyPr>
          <a:lstStyle/>
          <a:p>
            <a:pPr>
              <a:lnSpc>
                <a:spcPct val="130000"/>
              </a:lnSpc>
            </a:pPr>
            <a:r>
              <a:rPr lang="zh-CN" altLang="en-US" sz="2400">
                <a:latin typeface="黑体" pitchFamily="49" charset="-122"/>
                <a:ea typeface="黑体" pitchFamily="49" charset="-122"/>
              </a:rPr>
              <a:t>    在从众心理影响下，人们更愿意选择卖得更好的产品。如果你的品牌很热，就应该让更多消费者知道。   </a:t>
            </a:r>
            <a:endParaRPr lang="en-US" altLang="zh-CN" sz="2400">
              <a:latin typeface="黑体" pitchFamily="49" charset="-122"/>
              <a:ea typeface="黑体" pitchFamily="49" charset="-122"/>
            </a:endParaRPr>
          </a:p>
          <a:p>
            <a:pPr>
              <a:lnSpc>
                <a:spcPct val="130000"/>
              </a:lnSpc>
            </a:pPr>
            <a:r>
              <a:rPr lang="zh-CN" altLang="en-US" sz="2400">
                <a:latin typeface="黑体" pitchFamily="49" charset="-122"/>
                <a:ea typeface="黑体" pitchFamily="49" charset="-122"/>
              </a:rPr>
              <a:t>    热销信息越具体越好，如销量领先、增长速度等皆可，但应选用竞争对手难以企及的同类数据。</a:t>
            </a:r>
            <a:endParaRPr lang="en-US" altLang="zh-CN" sz="2400">
              <a:latin typeface="黑体" pitchFamily="49" charset="-122"/>
              <a:ea typeface="黑体" pitchFamily="49" charset="-122"/>
            </a:endParaRPr>
          </a:p>
        </p:txBody>
      </p:sp>
      <p:sp>
        <p:nvSpPr>
          <p:cNvPr id="6" name="文本框 5"/>
          <p:cNvSpPr txBox="1"/>
          <p:nvPr/>
        </p:nvSpPr>
        <p:spPr>
          <a:xfrm>
            <a:off x="5359400" y="2084388"/>
            <a:ext cx="1555750" cy="912812"/>
          </a:xfrm>
          <a:prstGeom prst="rect">
            <a:avLst/>
          </a:prstGeom>
          <a:noFill/>
        </p:spPr>
        <p:txBody>
          <a:bodyPr wrap="none">
            <a:spAutoFit/>
          </a:bodyPr>
          <a:lstStyle/>
          <a:p>
            <a:r>
              <a:rPr lang="zh-CN" altLang="en-US" sz="5300" b="1">
                <a:latin typeface="黑体" pitchFamily="49" charset="-122"/>
                <a:ea typeface="黑体" pitchFamily="49" charset="-122"/>
              </a:rPr>
              <a:t>热销</a:t>
            </a:r>
            <a:endParaRPr lang="zh-CN" altLang="zh-CN" sz="5300" b="1">
              <a:latin typeface="黑体" pitchFamily="49" charset="-122"/>
              <a:ea typeface="黑体" pitchFamily="49" charset="-122"/>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幻灯片编号占位符 3"/>
          <p:cNvSpPr>
            <a:spLocks noGrp="1"/>
          </p:cNvSpPr>
          <p:nvPr>
            <p:ph type="sldNum" sz="quarter" idx="4294967295"/>
          </p:nvPr>
        </p:nvSpPr>
        <p:spPr bwMode="auto">
          <a:xfrm>
            <a:off x="5135563" y="6424613"/>
            <a:ext cx="2844800" cy="365125"/>
          </a:xfrm>
          <a:prstGeom prst="rect">
            <a:avLst/>
          </a:prstGeom>
          <a:noFill/>
          <a:ln>
            <a:miter lim="800000"/>
            <a:headEnd/>
            <a:tailEnd/>
          </a:ln>
        </p:spPr>
        <p:txBody>
          <a:bodyPr/>
          <a:lstStyle/>
          <a:p>
            <a:fld id="{1C7C08C0-B905-40D2-BFF6-B911AA352435}" type="slidenum">
              <a:rPr lang="zh-CN" altLang="en-US">
                <a:latin typeface="Calibri Light"/>
                <a:ea typeface="微软雅黑" pitchFamily="34" charset="-122"/>
              </a:rPr>
              <a:pPr/>
              <a:t>42</a:t>
            </a:fld>
            <a:endParaRPr lang="en-US" altLang="zh-CN">
              <a:latin typeface="Calibri Light"/>
              <a:ea typeface="微软雅黑" pitchFamily="34" charset="-122"/>
            </a:endParaRPr>
          </a:p>
        </p:txBody>
      </p:sp>
      <p:grpSp>
        <p:nvGrpSpPr>
          <p:cNvPr id="93186" name="组 6"/>
          <p:cNvGrpSpPr>
            <a:grpSpLocks/>
          </p:cNvGrpSpPr>
          <p:nvPr/>
        </p:nvGrpSpPr>
        <p:grpSpPr bwMode="auto">
          <a:xfrm>
            <a:off x="400050" y="2058988"/>
            <a:ext cx="3265488" cy="4313237"/>
            <a:chOff x="440479" y="1499149"/>
            <a:chExt cx="2448272" cy="3234653"/>
          </a:xfrm>
        </p:grpSpPr>
        <p:pic>
          <p:nvPicPr>
            <p:cNvPr id="93194" name="图片 8"/>
            <p:cNvPicPr>
              <a:picLocks noChangeAspect="1"/>
            </p:cNvPicPr>
            <p:nvPr/>
          </p:nvPicPr>
          <p:blipFill>
            <a:blip r:embed="rId3"/>
            <a:srcRect/>
            <a:stretch>
              <a:fillRect/>
            </a:stretch>
          </p:blipFill>
          <p:spPr bwMode="auto">
            <a:xfrm>
              <a:off x="440479" y="1499149"/>
              <a:ext cx="2448272" cy="3234653"/>
            </a:xfrm>
            <a:prstGeom prst="rect">
              <a:avLst/>
            </a:prstGeom>
            <a:noFill/>
            <a:ln w="9525">
              <a:noFill/>
              <a:miter lim="800000"/>
              <a:headEnd/>
              <a:tailEnd/>
            </a:ln>
          </p:spPr>
        </p:pic>
        <p:pic>
          <p:nvPicPr>
            <p:cNvPr id="93195" name="图片 11"/>
            <p:cNvPicPr>
              <a:picLocks/>
            </p:cNvPicPr>
            <p:nvPr/>
          </p:nvPicPr>
          <p:blipFill>
            <a:blip r:embed="rId4"/>
            <a:srcRect/>
            <a:stretch>
              <a:fillRect/>
            </a:stretch>
          </p:blipFill>
          <p:spPr bwMode="auto">
            <a:xfrm>
              <a:off x="566615" y="1634820"/>
              <a:ext cx="2196000" cy="2952000"/>
            </a:xfrm>
            <a:prstGeom prst="rect">
              <a:avLst/>
            </a:prstGeom>
            <a:noFill/>
            <a:ln w="9525">
              <a:noFill/>
              <a:miter lim="800000"/>
              <a:headEnd/>
              <a:tailEnd/>
            </a:ln>
          </p:spPr>
        </p:pic>
      </p:grpSp>
      <p:sp>
        <p:nvSpPr>
          <p:cNvPr id="13" name="副标题 5"/>
          <p:cNvSpPr txBox="1">
            <a:spLocks/>
          </p:cNvSpPr>
          <p:nvPr/>
        </p:nvSpPr>
        <p:spPr>
          <a:xfrm>
            <a:off x="285750" y="458788"/>
            <a:ext cx="10763250" cy="1047750"/>
          </a:xfrm>
          <a:prstGeom prst="rect">
            <a:avLst/>
          </a:prstGeom>
        </p:spPr>
        <p:txBody>
          <a:bodyPr lIns="121920" tIns="60960" rIns="121920" bIns="60960"/>
          <a:lstStyle/>
          <a:p>
            <a:pPr algn="just">
              <a:lnSpc>
                <a:spcPct val="150000"/>
              </a:lnSpc>
              <a:spcBef>
                <a:spcPct val="20000"/>
              </a:spcBef>
            </a:pPr>
            <a:r>
              <a:rPr lang="en-US" altLang="zh-CN" sz="4200" b="1">
                <a:solidFill>
                  <a:schemeClr val="bg1"/>
                </a:solidFill>
                <a:latin typeface="黑体" pitchFamily="49" charset="-122"/>
                <a:ea typeface="黑体" pitchFamily="49" charset="-122"/>
              </a:rPr>
              <a:t>1.</a:t>
            </a:r>
            <a:r>
              <a:rPr lang="zh-CN" altLang="en-US" sz="4200" b="1">
                <a:solidFill>
                  <a:schemeClr val="bg1"/>
                </a:solidFill>
                <a:latin typeface="黑体" pitchFamily="49" charset="-122"/>
                <a:ea typeface="黑体" pitchFamily="49" charset="-122"/>
              </a:rPr>
              <a:t>热销</a:t>
            </a:r>
            <a:endParaRPr lang="en-US" altLang="zh-CN" sz="4200" b="1">
              <a:solidFill>
                <a:schemeClr val="bg1"/>
              </a:solidFill>
              <a:latin typeface="黑体" pitchFamily="49" charset="-122"/>
              <a:ea typeface="黑体" pitchFamily="49" charset="-122"/>
            </a:endParaRPr>
          </a:p>
        </p:txBody>
      </p:sp>
      <p:grpSp>
        <p:nvGrpSpPr>
          <p:cNvPr id="93188" name="组 4"/>
          <p:cNvGrpSpPr>
            <a:grpSpLocks/>
          </p:cNvGrpSpPr>
          <p:nvPr/>
        </p:nvGrpSpPr>
        <p:grpSpPr bwMode="auto">
          <a:xfrm>
            <a:off x="8399463" y="2025650"/>
            <a:ext cx="3265487" cy="4313238"/>
            <a:chOff x="6361896" y="1448059"/>
            <a:chExt cx="2448272" cy="3234653"/>
          </a:xfrm>
        </p:grpSpPr>
        <p:pic>
          <p:nvPicPr>
            <p:cNvPr id="93192" name="图片 16"/>
            <p:cNvPicPr>
              <a:picLocks noChangeAspect="1"/>
            </p:cNvPicPr>
            <p:nvPr/>
          </p:nvPicPr>
          <p:blipFill>
            <a:blip r:embed="rId3"/>
            <a:srcRect/>
            <a:stretch>
              <a:fillRect/>
            </a:stretch>
          </p:blipFill>
          <p:spPr bwMode="auto">
            <a:xfrm>
              <a:off x="6361896" y="1448059"/>
              <a:ext cx="2448272" cy="3234653"/>
            </a:xfrm>
            <a:prstGeom prst="rect">
              <a:avLst/>
            </a:prstGeom>
            <a:noFill/>
            <a:ln w="9525">
              <a:noFill/>
              <a:miter lim="800000"/>
              <a:headEnd/>
              <a:tailEnd/>
            </a:ln>
          </p:spPr>
        </p:pic>
        <p:pic>
          <p:nvPicPr>
            <p:cNvPr id="93193" name="图片 17"/>
            <p:cNvPicPr>
              <a:picLocks/>
            </p:cNvPicPr>
            <p:nvPr/>
          </p:nvPicPr>
          <p:blipFill>
            <a:blip r:embed="rId5"/>
            <a:srcRect/>
            <a:stretch>
              <a:fillRect/>
            </a:stretch>
          </p:blipFill>
          <p:spPr bwMode="auto">
            <a:xfrm>
              <a:off x="6488032" y="1596074"/>
              <a:ext cx="2196000" cy="2952000"/>
            </a:xfrm>
            <a:prstGeom prst="rect">
              <a:avLst/>
            </a:prstGeom>
            <a:noFill/>
            <a:ln w="9525">
              <a:noFill/>
              <a:miter lim="800000"/>
              <a:headEnd/>
              <a:tailEnd/>
            </a:ln>
          </p:spPr>
        </p:pic>
      </p:grpSp>
      <p:grpSp>
        <p:nvGrpSpPr>
          <p:cNvPr id="93189" name="组 24"/>
          <p:cNvGrpSpPr>
            <a:grpSpLocks/>
          </p:cNvGrpSpPr>
          <p:nvPr/>
        </p:nvGrpSpPr>
        <p:grpSpPr bwMode="auto">
          <a:xfrm>
            <a:off x="4400550" y="2073275"/>
            <a:ext cx="3263900" cy="4311650"/>
            <a:chOff x="832008" y="1668607"/>
            <a:chExt cx="2448272" cy="3234653"/>
          </a:xfrm>
        </p:grpSpPr>
        <p:pic>
          <p:nvPicPr>
            <p:cNvPr id="26" name="图片 25"/>
            <p:cNvPicPr>
              <a:picLocks noChangeAspect="1"/>
            </p:cNvPicPr>
            <p:nvPr/>
          </p:nvPicPr>
          <p:blipFill>
            <a:blip r:embed="rId6"/>
            <a:srcRect/>
            <a:stretch>
              <a:fillRect/>
            </a:stretch>
          </p:blipFill>
          <p:spPr bwMode="auto">
            <a:xfrm>
              <a:off x="932698" y="1758385"/>
              <a:ext cx="2246893" cy="3039364"/>
            </a:xfrm>
            <a:prstGeom prst="rect">
              <a:avLst/>
            </a:prstGeom>
            <a:noFill/>
            <a:ln w="9525">
              <a:noFill/>
              <a:miter lim="800000"/>
              <a:headEnd/>
              <a:tailEnd/>
            </a:ln>
            <a:effectLst>
              <a:outerShdw dist="139700" dir="2700000" algn="tl" rotWithShape="0">
                <a:srgbClr val="333333">
                  <a:alpha val="64999"/>
                </a:srgbClr>
              </a:outerShdw>
            </a:effectLst>
          </p:spPr>
        </p:pic>
        <p:pic>
          <p:nvPicPr>
            <p:cNvPr id="93191" name="图片 26"/>
            <p:cNvPicPr>
              <a:picLocks noChangeAspect="1"/>
            </p:cNvPicPr>
            <p:nvPr/>
          </p:nvPicPr>
          <p:blipFill>
            <a:blip r:embed="rId3"/>
            <a:srcRect/>
            <a:stretch>
              <a:fillRect/>
            </a:stretch>
          </p:blipFill>
          <p:spPr bwMode="auto">
            <a:xfrm>
              <a:off x="832008" y="1668607"/>
              <a:ext cx="2448272" cy="3234653"/>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0F87CC13-286C-4C86-BC11-F43A8045483F}" type="slidenum">
              <a:rPr lang="zh-CN" altLang="en-US"/>
              <a:pPr defTabSz="912813" fontAlgn="base">
                <a:spcBef>
                  <a:spcPct val="0"/>
                </a:spcBef>
                <a:spcAft>
                  <a:spcPct val="0"/>
                </a:spcAft>
              </a:pPr>
              <a:t>43</a:t>
            </a:fld>
            <a:endParaRPr lang="en-US" altLang="zh-CN"/>
          </a:p>
        </p:txBody>
      </p:sp>
      <p:sp>
        <p:nvSpPr>
          <p:cNvPr id="95234" name="文本框 2"/>
          <p:cNvSpPr txBox="1">
            <a:spLocks noChangeArrowheads="1"/>
          </p:cNvSpPr>
          <p:nvPr/>
        </p:nvSpPr>
        <p:spPr bwMode="auto">
          <a:xfrm>
            <a:off x="1008063" y="4005263"/>
            <a:ext cx="10367962" cy="1200150"/>
          </a:xfrm>
          <a:prstGeom prst="rect">
            <a:avLst/>
          </a:prstGeom>
          <a:noFill/>
          <a:ln w="9525">
            <a:noFill/>
            <a:miter lim="800000"/>
            <a:headEnd/>
            <a:tailEnd/>
          </a:ln>
        </p:spPr>
        <p:txBody>
          <a:bodyPr>
            <a:spAutoFit/>
          </a:bodyPr>
          <a:lstStyle/>
          <a:p>
            <a:pPr>
              <a:lnSpc>
                <a:spcPct val="150000"/>
              </a:lnSpc>
            </a:pPr>
            <a:r>
              <a:rPr lang="zh-CN" altLang="en-US" sz="2400">
                <a:latin typeface="黑体" pitchFamily="49" charset="-122"/>
                <a:ea typeface="黑体" pitchFamily="49" charset="-122"/>
              </a:rPr>
              <a:t>    人们倾向于把意见领袖（如专业人士、深度消费者、高端人群等）的选择视作正确行为，人们更愿意相信意见领袖的选择。</a:t>
            </a:r>
            <a:endParaRPr lang="en-US" altLang="zh-CN" sz="2400">
              <a:latin typeface="黑体" pitchFamily="49" charset="-122"/>
              <a:ea typeface="黑体" pitchFamily="49" charset="-122"/>
            </a:endParaRPr>
          </a:p>
        </p:txBody>
      </p:sp>
      <p:sp>
        <p:nvSpPr>
          <p:cNvPr id="6" name="文本框 5"/>
          <p:cNvSpPr txBox="1"/>
          <p:nvPr/>
        </p:nvSpPr>
        <p:spPr>
          <a:xfrm>
            <a:off x="2949575" y="2179638"/>
            <a:ext cx="5673725" cy="912812"/>
          </a:xfrm>
          <a:prstGeom prst="rect">
            <a:avLst/>
          </a:prstGeom>
          <a:noFill/>
        </p:spPr>
        <p:txBody>
          <a:bodyPr wrap="none">
            <a:spAutoFit/>
          </a:bodyPr>
          <a:lstStyle/>
          <a:p>
            <a:pPr algn="ctr"/>
            <a:r>
              <a:rPr lang="zh-CN" altLang="en-US" sz="5300" b="1">
                <a:latin typeface="黑体" pitchFamily="49" charset="-122"/>
                <a:ea typeface="黑体" pitchFamily="49" charset="-122"/>
              </a:rPr>
              <a:t>最受意见领袖青睐</a:t>
            </a:r>
            <a:endParaRPr lang="zh-CN" altLang="zh-CN" sz="5300" b="1">
              <a:latin typeface="黑体" pitchFamily="49" charset="-122"/>
              <a:ea typeface="黑体" pitchFamily="49" charset="-122"/>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A9D9F53B-0670-43FE-B276-0AF240789841}" type="slidenum">
              <a:rPr lang="zh-CN" altLang="en-US"/>
              <a:pPr defTabSz="912813" fontAlgn="base">
                <a:spcBef>
                  <a:spcPct val="0"/>
                </a:spcBef>
                <a:spcAft>
                  <a:spcPct val="0"/>
                </a:spcAft>
              </a:pPr>
              <a:t>44</a:t>
            </a:fld>
            <a:endParaRPr lang="en-US" altLang="zh-CN"/>
          </a:p>
        </p:txBody>
      </p:sp>
      <p:grpSp>
        <p:nvGrpSpPr>
          <p:cNvPr id="97282" name="组 7"/>
          <p:cNvGrpSpPr>
            <a:grpSpLocks/>
          </p:cNvGrpSpPr>
          <p:nvPr/>
        </p:nvGrpSpPr>
        <p:grpSpPr bwMode="auto">
          <a:xfrm>
            <a:off x="8399463" y="2060575"/>
            <a:ext cx="3265487" cy="4313238"/>
            <a:chOff x="3140104" y="1577757"/>
            <a:chExt cx="2448272" cy="3234653"/>
          </a:xfrm>
        </p:grpSpPr>
        <p:pic>
          <p:nvPicPr>
            <p:cNvPr id="97291" name="图片 10"/>
            <p:cNvPicPr>
              <a:picLocks noChangeAspect="1"/>
            </p:cNvPicPr>
            <p:nvPr/>
          </p:nvPicPr>
          <p:blipFill>
            <a:blip r:embed="rId3"/>
            <a:srcRect/>
            <a:stretch>
              <a:fillRect/>
            </a:stretch>
          </p:blipFill>
          <p:spPr bwMode="auto">
            <a:xfrm>
              <a:off x="3275856" y="1707654"/>
              <a:ext cx="2217155" cy="2980800"/>
            </a:xfrm>
            <a:prstGeom prst="rect">
              <a:avLst/>
            </a:prstGeom>
            <a:noFill/>
            <a:ln w="9525">
              <a:noFill/>
              <a:miter lim="800000"/>
              <a:headEnd/>
              <a:tailEnd/>
            </a:ln>
          </p:spPr>
        </p:pic>
        <p:pic>
          <p:nvPicPr>
            <p:cNvPr id="97292" name="图片 11"/>
            <p:cNvPicPr>
              <a:picLocks noChangeAspect="1"/>
            </p:cNvPicPr>
            <p:nvPr/>
          </p:nvPicPr>
          <p:blipFill>
            <a:blip r:embed="rId4"/>
            <a:srcRect/>
            <a:stretch>
              <a:fillRect/>
            </a:stretch>
          </p:blipFill>
          <p:spPr bwMode="auto">
            <a:xfrm>
              <a:off x="3140104" y="1577757"/>
              <a:ext cx="2448272" cy="3234653"/>
            </a:xfrm>
            <a:prstGeom prst="rect">
              <a:avLst/>
            </a:prstGeom>
            <a:noFill/>
            <a:ln w="9525">
              <a:noFill/>
              <a:miter lim="800000"/>
              <a:headEnd/>
              <a:tailEnd/>
            </a:ln>
          </p:spPr>
        </p:pic>
      </p:grpSp>
      <p:grpSp>
        <p:nvGrpSpPr>
          <p:cNvPr id="97283" name="组 9"/>
          <p:cNvGrpSpPr>
            <a:grpSpLocks/>
          </p:cNvGrpSpPr>
          <p:nvPr/>
        </p:nvGrpSpPr>
        <p:grpSpPr bwMode="auto">
          <a:xfrm>
            <a:off x="4400550" y="2073275"/>
            <a:ext cx="3263900" cy="4311650"/>
            <a:chOff x="3420380" y="1641351"/>
            <a:chExt cx="2448272" cy="3234653"/>
          </a:xfrm>
        </p:grpSpPr>
        <p:pic>
          <p:nvPicPr>
            <p:cNvPr id="97289" name="图片 15"/>
            <p:cNvPicPr>
              <a:picLocks noChangeAspect="1"/>
            </p:cNvPicPr>
            <p:nvPr/>
          </p:nvPicPr>
          <p:blipFill>
            <a:blip r:embed="rId4"/>
            <a:srcRect/>
            <a:stretch>
              <a:fillRect/>
            </a:stretch>
          </p:blipFill>
          <p:spPr bwMode="auto">
            <a:xfrm>
              <a:off x="3420380" y="1641351"/>
              <a:ext cx="2448272" cy="3234653"/>
            </a:xfrm>
            <a:prstGeom prst="rect">
              <a:avLst/>
            </a:prstGeom>
            <a:noFill/>
            <a:ln w="9525">
              <a:noFill/>
              <a:miter lim="800000"/>
              <a:headEnd/>
              <a:tailEnd/>
            </a:ln>
          </p:spPr>
        </p:pic>
        <p:pic>
          <p:nvPicPr>
            <p:cNvPr id="97290" name="图片 2"/>
            <p:cNvPicPr>
              <a:picLocks noChangeAspect="1"/>
            </p:cNvPicPr>
            <p:nvPr/>
          </p:nvPicPr>
          <p:blipFill>
            <a:blip r:embed="rId5"/>
            <a:srcRect/>
            <a:stretch>
              <a:fillRect/>
            </a:stretch>
          </p:blipFill>
          <p:spPr bwMode="auto">
            <a:xfrm>
              <a:off x="3566540" y="1795490"/>
              <a:ext cx="2196000" cy="2934050"/>
            </a:xfrm>
            <a:prstGeom prst="rect">
              <a:avLst/>
            </a:prstGeom>
            <a:noFill/>
            <a:ln w="9525">
              <a:noFill/>
              <a:miter lim="800000"/>
              <a:headEnd/>
              <a:tailEnd/>
            </a:ln>
          </p:spPr>
        </p:pic>
      </p:grpSp>
      <p:sp>
        <p:nvSpPr>
          <p:cNvPr id="14" name="矩形 13"/>
          <p:cNvSpPr/>
          <p:nvPr/>
        </p:nvSpPr>
        <p:spPr>
          <a:xfrm>
            <a:off x="8213725" y="4868863"/>
            <a:ext cx="3692525" cy="481012"/>
          </a:xfrm>
          <a:prstGeom prst="rect">
            <a:avLst/>
          </a:prstGeom>
          <a:noFill/>
        </p:spPr>
        <p:style>
          <a:lnRef idx="2">
            <a:schemeClr val="accent6"/>
          </a:lnRef>
          <a:fillRef idx="1">
            <a:schemeClr val="lt1"/>
          </a:fillRef>
          <a:effectRef idx="0">
            <a:schemeClr val="accent6"/>
          </a:effectRef>
          <a:fontRef idx="minor">
            <a:schemeClr val="dk1"/>
          </a:fontRef>
        </p:style>
        <p:txBody>
          <a:bodyPr anchor="ctr"/>
          <a:lstStyle/>
          <a:p>
            <a:pPr algn="ctr" defTabSz="914377" fontAlgn="auto">
              <a:spcBef>
                <a:spcPts val="0"/>
              </a:spcBef>
              <a:spcAft>
                <a:spcPts val="0"/>
              </a:spcAft>
              <a:defRPr/>
            </a:pPr>
            <a:endParaRPr kumimoji="1" lang="zh-CN" altLang="en-US" sz="2400"/>
          </a:p>
        </p:txBody>
      </p:sp>
      <p:sp>
        <p:nvSpPr>
          <p:cNvPr id="17" name="副标题 5"/>
          <p:cNvSpPr txBox="1">
            <a:spLocks/>
          </p:cNvSpPr>
          <p:nvPr/>
        </p:nvSpPr>
        <p:spPr>
          <a:xfrm>
            <a:off x="285750" y="458788"/>
            <a:ext cx="10763250" cy="1047750"/>
          </a:xfrm>
          <a:prstGeom prst="rect">
            <a:avLst/>
          </a:prstGeom>
        </p:spPr>
        <p:txBody>
          <a:bodyPr lIns="121920" tIns="60960" rIns="121920" bIns="60960"/>
          <a:lstStyle/>
          <a:p>
            <a:pPr algn="just">
              <a:lnSpc>
                <a:spcPct val="150000"/>
              </a:lnSpc>
              <a:spcBef>
                <a:spcPct val="20000"/>
              </a:spcBef>
            </a:pPr>
            <a:r>
              <a:rPr lang="en-US" altLang="zh-CN" sz="4200" b="1">
                <a:solidFill>
                  <a:schemeClr val="bg1"/>
                </a:solidFill>
                <a:latin typeface="黑体" pitchFamily="49" charset="-122"/>
                <a:ea typeface="黑体" pitchFamily="49" charset="-122"/>
              </a:rPr>
              <a:t>2.</a:t>
            </a:r>
            <a:r>
              <a:rPr lang="zh-CN" altLang="en-US" sz="4200" b="1">
                <a:solidFill>
                  <a:schemeClr val="bg1"/>
                </a:solidFill>
                <a:latin typeface="黑体" pitchFamily="49" charset="-122"/>
                <a:ea typeface="黑体" pitchFamily="49" charset="-122"/>
              </a:rPr>
              <a:t>最受意见领袖青睐</a:t>
            </a:r>
            <a:endParaRPr lang="en-US" altLang="zh-CN" sz="4200" b="1">
              <a:solidFill>
                <a:schemeClr val="bg1"/>
              </a:solidFill>
              <a:latin typeface="黑体" pitchFamily="49" charset="-122"/>
              <a:ea typeface="黑体" pitchFamily="49" charset="-122"/>
            </a:endParaRPr>
          </a:p>
        </p:txBody>
      </p:sp>
      <p:grpSp>
        <p:nvGrpSpPr>
          <p:cNvPr id="97286" name="组 12"/>
          <p:cNvGrpSpPr>
            <a:grpSpLocks/>
          </p:cNvGrpSpPr>
          <p:nvPr/>
        </p:nvGrpSpPr>
        <p:grpSpPr bwMode="auto">
          <a:xfrm>
            <a:off x="400050" y="2060575"/>
            <a:ext cx="3265488" cy="4313238"/>
            <a:chOff x="838634" y="1569345"/>
            <a:chExt cx="2448272" cy="3234653"/>
          </a:xfrm>
        </p:grpSpPr>
        <p:pic>
          <p:nvPicPr>
            <p:cNvPr id="97287" name="图片 14"/>
            <p:cNvPicPr>
              <a:picLocks noChangeAspect="1"/>
            </p:cNvPicPr>
            <p:nvPr/>
          </p:nvPicPr>
          <p:blipFill>
            <a:blip r:embed="rId6"/>
            <a:srcRect/>
            <a:stretch>
              <a:fillRect/>
            </a:stretch>
          </p:blipFill>
          <p:spPr bwMode="auto">
            <a:xfrm>
              <a:off x="954193" y="1707654"/>
              <a:ext cx="2217154" cy="2980800"/>
            </a:xfrm>
            <a:prstGeom prst="rect">
              <a:avLst/>
            </a:prstGeom>
            <a:noFill/>
            <a:ln w="9525">
              <a:noFill/>
              <a:miter lim="800000"/>
              <a:headEnd/>
              <a:tailEnd/>
            </a:ln>
          </p:spPr>
        </p:pic>
        <p:pic>
          <p:nvPicPr>
            <p:cNvPr id="97288" name="图片 17"/>
            <p:cNvPicPr>
              <a:picLocks noChangeAspect="1"/>
            </p:cNvPicPr>
            <p:nvPr/>
          </p:nvPicPr>
          <p:blipFill>
            <a:blip r:embed="rId4"/>
            <a:srcRect/>
            <a:stretch>
              <a:fillRect/>
            </a:stretch>
          </p:blipFill>
          <p:spPr bwMode="auto">
            <a:xfrm>
              <a:off x="838634" y="1569345"/>
              <a:ext cx="2448272" cy="3234653"/>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7051CA6A-27A7-4651-988E-0FDA557151F7}" type="slidenum">
              <a:rPr lang="zh-CN" altLang="en-US"/>
              <a:pPr defTabSz="912813" fontAlgn="base">
                <a:spcBef>
                  <a:spcPct val="0"/>
                </a:spcBef>
                <a:spcAft>
                  <a:spcPct val="0"/>
                </a:spcAft>
              </a:pPr>
              <a:t>45</a:t>
            </a:fld>
            <a:endParaRPr lang="en-US" altLang="zh-CN"/>
          </a:p>
        </p:txBody>
      </p:sp>
      <p:sp>
        <p:nvSpPr>
          <p:cNvPr id="99330" name="文本框 2"/>
          <p:cNvSpPr txBox="1">
            <a:spLocks noChangeArrowheads="1"/>
          </p:cNvSpPr>
          <p:nvPr/>
        </p:nvSpPr>
        <p:spPr bwMode="auto">
          <a:xfrm>
            <a:off x="1008063" y="4005263"/>
            <a:ext cx="10394950" cy="1754187"/>
          </a:xfrm>
          <a:prstGeom prst="rect">
            <a:avLst/>
          </a:prstGeom>
          <a:noFill/>
          <a:ln w="9525">
            <a:noFill/>
            <a:miter lim="800000"/>
            <a:headEnd/>
            <a:tailEnd/>
          </a:ln>
        </p:spPr>
        <p:txBody>
          <a:bodyPr>
            <a:spAutoFit/>
          </a:bodyPr>
          <a:lstStyle/>
          <a:p>
            <a:pPr indent="598488">
              <a:lnSpc>
                <a:spcPct val="150000"/>
              </a:lnSpc>
            </a:pPr>
            <a:r>
              <a:rPr lang="zh-CN" altLang="zh-CN" sz="2400">
                <a:latin typeface="黑体" pitchFamily="49" charset="-122"/>
                <a:ea typeface="黑体" pitchFamily="49" charset="-122"/>
              </a:rPr>
              <a:t>领导地位</a:t>
            </a:r>
            <a:r>
              <a:rPr lang="zh-CN" altLang="en-US" sz="2400">
                <a:latin typeface="黑体" pitchFamily="49" charset="-122"/>
                <a:ea typeface="黑体" pitchFamily="49" charset="-122"/>
              </a:rPr>
              <a:t>可以直接给品牌带来可信度，顾客更愿意相信领导品牌诉说的广告信息。</a:t>
            </a:r>
            <a:endParaRPr lang="en-US" altLang="zh-CN" sz="2400">
              <a:latin typeface="黑体" pitchFamily="49" charset="-122"/>
              <a:ea typeface="黑体" pitchFamily="49" charset="-122"/>
            </a:endParaRPr>
          </a:p>
          <a:p>
            <a:pPr indent="598488">
              <a:lnSpc>
                <a:spcPct val="150000"/>
              </a:lnSpc>
            </a:pPr>
            <a:r>
              <a:rPr lang="zh-CN" altLang="en-US" sz="2400">
                <a:latin typeface="黑体" pitchFamily="49" charset="-122"/>
                <a:ea typeface="黑体" pitchFamily="49" charset="-122"/>
              </a:rPr>
              <a:t>品牌的领导地位可以从不同维度来定义，如销量领导者、技术领导者等。</a:t>
            </a:r>
            <a:endParaRPr lang="en-US" altLang="zh-CN" sz="2400">
              <a:latin typeface="黑体" pitchFamily="49" charset="-122"/>
              <a:ea typeface="黑体" pitchFamily="49" charset="-122"/>
            </a:endParaRPr>
          </a:p>
        </p:txBody>
      </p:sp>
      <p:sp>
        <p:nvSpPr>
          <p:cNvPr id="6" name="文本框 5"/>
          <p:cNvSpPr txBox="1"/>
          <p:nvPr/>
        </p:nvSpPr>
        <p:spPr>
          <a:xfrm>
            <a:off x="4656138" y="2084388"/>
            <a:ext cx="2928937" cy="912812"/>
          </a:xfrm>
          <a:prstGeom prst="rect">
            <a:avLst/>
          </a:prstGeom>
          <a:noFill/>
        </p:spPr>
        <p:txBody>
          <a:bodyPr wrap="none">
            <a:spAutoFit/>
          </a:bodyPr>
          <a:lstStyle/>
          <a:p>
            <a:r>
              <a:rPr lang="zh-CN" altLang="en-US" sz="5300" b="1">
                <a:latin typeface="黑体" pitchFamily="49" charset="-122"/>
                <a:ea typeface="黑体" pitchFamily="49" charset="-122"/>
              </a:rPr>
              <a:t>领导品牌</a:t>
            </a:r>
            <a:endParaRPr lang="zh-CN" altLang="zh-CN" sz="5300" b="1">
              <a:latin typeface="黑体" pitchFamily="49" charset="-122"/>
              <a:ea typeface="黑体" pitchFamily="49" charset="-122"/>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1CCDAA14-0D4F-496B-9483-5321D40E58E9}" type="slidenum">
              <a:rPr lang="zh-CN" altLang="en-US"/>
              <a:pPr defTabSz="912813" fontAlgn="base">
                <a:spcBef>
                  <a:spcPct val="0"/>
                </a:spcBef>
                <a:spcAft>
                  <a:spcPct val="0"/>
                </a:spcAft>
              </a:pPr>
              <a:t>46</a:t>
            </a:fld>
            <a:endParaRPr lang="en-US" altLang="zh-CN"/>
          </a:p>
        </p:txBody>
      </p:sp>
      <p:grpSp>
        <p:nvGrpSpPr>
          <p:cNvPr id="101378" name="组 6"/>
          <p:cNvGrpSpPr>
            <a:grpSpLocks/>
          </p:cNvGrpSpPr>
          <p:nvPr/>
        </p:nvGrpSpPr>
        <p:grpSpPr bwMode="auto">
          <a:xfrm>
            <a:off x="449263" y="2054225"/>
            <a:ext cx="3263900" cy="4313238"/>
            <a:chOff x="758746" y="1563638"/>
            <a:chExt cx="2448272" cy="3234653"/>
          </a:xfrm>
        </p:grpSpPr>
        <p:pic>
          <p:nvPicPr>
            <p:cNvPr id="101387" name="图片 8"/>
            <p:cNvPicPr>
              <a:picLocks/>
            </p:cNvPicPr>
            <p:nvPr/>
          </p:nvPicPr>
          <p:blipFill>
            <a:blip r:embed="rId3"/>
            <a:srcRect/>
            <a:stretch>
              <a:fillRect/>
            </a:stretch>
          </p:blipFill>
          <p:spPr bwMode="auto">
            <a:xfrm>
              <a:off x="899592" y="1674172"/>
              <a:ext cx="2232248" cy="2980800"/>
            </a:xfrm>
            <a:prstGeom prst="rect">
              <a:avLst/>
            </a:prstGeom>
            <a:noFill/>
            <a:ln w="9525">
              <a:noFill/>
              <a:miter lim="800000"/>
              <a:headEnd/>
              <a:tailEnd/>
            </a:ln>
          </p:spPr>
        </p:pic>
        <p:pic>
          <p:nvPicPr>
            <p:cNvPr id="101388" name="图片 7"/>
            <p:cNvPicPr>
              <a:picLocks noChangeAspect="1"/>
            </p:cNvPicPr>
            <p:nvPr/>
          </p:nvPicPr>
          <p:blipFill>
            <a:blip r:embed="rId4"/>
            <a:srcRect/>
            <a:stretch>
              <a:fillRect/>
            </a:stretch>
          </p:blipFill>
          <p:spPr bwMode="auto">
            <a:xfrm>
              <a:off x="758746" y="1563638"/>
              <a:ext cx="2448272" cy="3234653"/>
            </a:xfrm>
            <a:prstGeom prst="rect">
              <a:avLst/>
            </a:prstGeom>
            <a:noFill/>
            <a:ln w="9525">
              <a:noFill/>
              <a:miter lim="800000"/>
              <a:headEnd/>
              <a:tailEnd/>
            </a:ln>
          </p:spPr>
        </p:pic>
      </p:grpSp>
      <p:sp>
        <p:nvSpPr>
          <p:cNvPr id="16" name="副标题 5"/>
          <p:cNvSpPr txBox="1">
            <a:spLocks/>
          </p:cNvSpPr>
          <p:nvPr/>
        </p:nvSpPr>
        <p:spPr>
          <a:xfrm>
            <a:off x="285750" y="458788"/>
            <a:ext cx="10763250" cy="1047750"/>
          </a:xfrm>
          <a:prstGeom prst="rect">
            <a:avLst/>
          </a:prstGeom>
        </p:spPr>
        <p:txBody>
          <a:bodyPr lIns="121920" tIns="60960" rIns="121920" bIns="60960"/>
          <a:lstStyle/>
          <a:p>
            <a:pPr algn="just">
              <a:lnSpc>
                <a:spcPct val="150000"/>
              </a:lnSpc>
              <a:spcBef>
                <a:spcPct val="20000"/>
              </a:spcBef>
            </a:pPr>
            <a:r>
              <a:rPr lang="en-US" altLang="zh-CN" sz="4200" b="1">
                <a:solidFill>
                  <a:schemeClr val="bg1"/>
                </a:solidFill>
                <a:latin typeface="黑体" pitchFamily="49" charset="-122"/>
                <a:ea typeface="黑体" pitchFamily="49" charset="-122"/>
              </a:rPr>
              <a:t>3.</a:t>
            </a:r>
            <a:r>
              <a:rPr lang="zh-CN" altLang="en-US" sz="4200" b="1">
                <a:solidFill>
                  <a:schemeClr val="bg1"/>
                </a:solidFill>
                <a:latin typeface="黑体" pitchFamily="49" charset="-122"/>
                <a:ea typeface="黑体" pitchFamily="49" charset="-122"/>
              </a:rPr>
              <a:t>领导品牌</a:t>
            </a:r>
            <a:endParaRPr lang="en-US" altLang="zh-CN" sz="4200" b="1">
              <a:solidFill>
                <a:schemeClr val="bg1"/>
              </a:solidFill>
              <a:latin typeface="黑体" pitchFamily="49" charset="-122"/>
              <a:ea typeface="黑体" pitchFamily="49" charset="-122"/>
            </a:endParaRPr>
          </a:p>
        </p:txBody>
      </p:sp>
      <p:grpSp>
        <p:nvGrpSpPr>
          <p:cNvPr id="101380" name="组 13"/>
          <p:cNvGrpSpPr>
            <a:grpSpLocks/>
          </p:cNvGrpSpPr>
          <p:nvPr/>
        </p:nvGrpSpPr>
        <p:grpSpPr bwMode="auto">
          <a:xfrm>
            <a:off x="8410575" y="2054225"/>
            <a:ext cx="3263900" cy="4313238"/>
            <a:chOff x="654244" y="1644516"/>
            <a:chExt cx="2448272" cy="3234653"/>
          </a:xfrm>
        </p:grpSpPr>
        <p:pic>
          <p:nvPicPr>
            <p:cNvPr id="15" name="图片 14"/>
            <p:cNvPicPr>
              <a:picLocks noChangeAspect="1"/>
            </p:cNvPicPr>
            <p:nvPr/>
          </p:nvPicPr>
          <p:blipFill>
            <a:blip r:embed="rId5"/>
            <a:srcRect/>
            <a:stretch>
              <a:fillRect/>
            </a:stretch>
          </p:blipFill>
          <p:spPr bwMode="auto">
            <a:xfrm>
              <a:off x="726252" y="1748053"/>
              <a:ext cx="2304256" cy="3097902"/>
            </a:xfrm>
            <a:prstGeom prst="rect">
              <a:avLst/>
            </a:prstGeom>
            <a:noFill/>
            <a:ln w="9525">
              <a:noFill/>
              <a:miter lim="800000"/>
              <a:headEnd/>
              <a:tailEnd/>
            </a:ln>
            <a:effectLst>
              <a:outerShdw dist="139700" dir="2700000" algn="tl" rotWithShape="0">
                <a:srgbClr val="333333">
                  <a:alpha val="64999"/>
                </a:srgbClr>
              </a:outerShdw>
            </a:effectLst>
          </p:spPr>
        </p:pic>
        <p:pic>
          <p:nvPicPr>
            <p:cNvPr id="101386" name="图片 16"/>
            <p:cNvPicPr>
              <a:picLocks noChangeAspect="1"/>
            </p:cNvPicPr>
            <p:nvPr/>
          </p:nvPicPr>
          <p:blipFill>
            <a:blip r:embed="rId4"/>
            <a:srcRect/>
            <a:stretch>
              <a:fillRect/>
            </a:stretch>
          </p:blipFill>
          <p:spPr bwMode="auto">
            <a:xfrm>
              <a:off x="654244" y="1644516"/>
              <a:ext cx="2448272" cy="3234653"/>
            </a:xfrm>
            <a:prstGeom prst="rect">
              <a:avLst/>
            </a:prstGeom>
            <a:noFill/>
            <a:ln w="9525">
              <a:noFill/>
              <a:miter lim="800000"/>
              <a:headEnd/>
              <a:tailEnd/>
            </a:ln>
          </p:spPr>
        </p:pic>
      </p:grpSp>
      <p:grpSp>
        <p:nvGrpSpPr>
          <p:cNvPr id="101381" name="组 17"/>
          <p:cNvGrpSpPr>
            <a:grpSpLocks/>
          </p:cNvGrpSpPr>
          <p:nvPr/>
        </p:nvGrpSpPr>
        <p:grpSpPr bwMode="auto">
          <a:xfrm>
            <a:off x="4438650" y="2054225"/>
            <a:ext cx="3263900" cy="4313238"/>
            <a:chOff x="336484" y="1646335"/>
            <a:chExt cx="2448272" cy="3234653"/>
          </a:xfrm>
        </p:grpSpPr>
        <p:pic>
          <p:nvPicPr>
            <p:cNvPr id="101383" name="图片 18"/>
            <p:cNvPicPr>
              <a:picLocks noChangeAspect="1"/>
            </p:cNvPicPr>
            <p:nvPr/>
          </p:nvPicPr>
          <p:blipFill>
            <a:blip r:embed="rId4"/>
            <a:srcRect/>
            <a:stretch>
              <a:fillRect/>
            </a:stretch>
          </p:blipFill>
          <p:spPr bwMode="auto">
            <a:xfrm>
              <a:off x="336484" y="1646335"/>
              <a:ext cx="2448272" cy="3234653"/>
            </a:xfrm>
            <a:prstGeom prst="rect">
              <a:avLst/>
            </a:prstGeom>
            <a:noFill/>
            <a:ln w="9525">
              <a:noFill/>
              <a:miter lim="800000"/>
              <a:headEnd/>
              <a:tailEnd/>
            </a:ln>
          </p:spPr>
        </p:pic>
        <p:pic>
          <p:nvPicPr>
            <p:cNvPr id="101384" name="图片 19"/>
            <p:cNvPicPr>
              <a:picLocks/>
            </p:cNvPicPr>
            <p:nvPr/>
          </p:nvPicPr>
          <p:blipFill>
            <a:blip r:embed="rId6"/>
            <a:srcRect/>
            <a:stretch>
              <a:fillRect/>
            </a:stretch>
          </p:blipFill>
          <p:spPr bwMode="auto">
            <a:xfrm>
              <a:off x="444620" y="1769661"/>
              <a:ext cx="2232000" cy="2988000"/>
            </a:xfrm>
            <a:prstGeom prst="rect">
              <a:avLst/>
            </a:prstGeom>
            <a:noFill/>
            <a:ln w="9525">
              <a:noFill/>
              <a:miter lim="800000"/>
              <a:headEnd/>
              <a:tailEnd/>
            </a:ln>
          </p:spPr>
        </p:pic>
      </p:grpSp>
      <p:sp>
        <p:nvSpPr>
          <p:cNvPr id="21" name="矩形 20"/>
          <p:cNvSpPr/>
          <p:nvPr/>
        </p:nvSpPr>
        <p:spPr>
          <a:xfrm>
            <a:off x="8196263" y="3141663"/>
            <a:ext cx="3692525" cy="382587"/>
          </a:xfrm>
          <a:prstGeom prst="rect">
            <a:avLst/>
          </a:prstGeom>
          <a:noFill/>
        </p:spPr>
        <p:style>
          <a:lnRef idx="2">
            <a:schemeClr val="accent6"/>
          </a:lnRef>
          <a:fillRef idx="1">
            <a:schemeClr val="lt1"/>
          </a:fillRef>
          <a:effectRef idx="0">
            <a:schemeClr val="accent6"/>
          </a:effectRef>
          <a:fontRef idx="minor">
            <a:schemeClr val="dk1"/>
          </a:fontRef>
        </p:style>
        <p:txBody>
          <a:bodyPr anchor="ctr"/>
          <a:lstStyle/>
          <a:p>
            <a:pPr algn="ctr" defTabSz="914377" fontAlgn="auto">
              <a:spcBef>
                <a:spcPts val="0"/>
              </a:spcBef>
              <a:spcAft>
                <a:spcPts val="0"/>
              </a:spcAft>
              <a:defRPr/>
            </a:pPr>
            <a:endParaRPr kumimoji="1" lang="zh-CN" altLang="en-US" sz="240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F8AB92EE-6404-42AA-931A-E645EF5313DC}" type="slidenum">
              <a:rPr lang="zh-CN" altLang="en-US"/>
              <a:pPr defTabSz="912813" fontAlgn="base">
                <a:spcBef>
                  <a:spcPct val="0"/>
                </a:spcBef>
                <a:spcAft>
                  <a:spcPct val="0"/>
                </a:spcAft>
              </a:pPr>
              <a:t>47</a:t>
            </a:fld>
            <a:endParaRPr lang="en-US" altLang="zh-CN"/>
          </a:p>
        </p:txBody>
      </p:sp>
      <p:sp>
        <p:nvSpPr>
          <p:cNvPr id="103426" name="文本框 2"/>
          <p:cNvSpPr txBox="1">
            <a:spLocks noChangeArrowheads="1"/>
          </p:cNvSpPr>
          <p:nvPr/>
        </p:nvSpPr>
        <p:spPr bwMode="auto">
          <a:xfrm>
            <a:off x="719138" y="4005263"/>
            <a:ext cx="10753725" cy="1200150"/>
          </a:xfrm>
          <a:prstGeom prst="rect">
            <a:avLst/>
          </a:prstGeom>
          <a:noFill/>
          <a:ln w="9525">
            <a:noFill/>
            <a:miter lim="800000"/>
            <a:headEnd/>
            <a:tailEnd/>
          </a:ln>
        </p:spPr>
        <p:txBody>
          <a:bodyPr>
            <a:spAutoFit/>
          </a:bodyPr>
          <a:lstStyle/>
          <a:p>
            <a:pPr>
              <a:lnSpc>
                <a:spcPct val="150000"/>
              </a:lnSpc>
            </a:pPr>
            <a:r>
              <a:rPr lang="zh-CN" altLang="en-US" sz="2400">
                <a:latin typeface="黑体" pitchFamily="49" charset="-122"/>
                <a:ea typeface="黑体" pitchFamily="49" charset="-122"/>
              </a:rPr>
              <a:t>    </a:t>
            </a:r>
            <a:r>
              <a:rPr lang="zh-CN" altLang="zh-CN" sz="2400">
                <a:latin typeface="黑体" pitchFamily="49" charset="-122"/>
                <a:ea typeface="黑体" pitchFamily="49" charset="-122"/>
              </a:rPr>
              <a:t>人们</a:t>
            </a:r>
            <a:r>
              <a:rPr lang="zh-CN" altLang="en-US" sz="2400">
                <a:latin typeface="黑体" pitchFamily="49" charset="-122"/>
                <a:ea typeface="黑体" pitchFamily="49" charset="-122"/>
              </a:rPr>
              <a:t>通常</a:t>
            </a:r>
            <a:r>
              <a:rPr lang="zh-CN" altLang="zh-CN" sz="2400">
                <a:latin typeface="黑体" pitchFamily="49" charset="-122"/>
                <a:ea typeface="黑体" pitchFamily="49" charset="-122"/>
              </a:rPr>
              <a:t>认为</a:t>
            </a:r>
            <a:r>
              <a:rPr lang="zh-CN" altLang="en-US" sz="2400">
                <a:latin typeface="黑体" pitchFamily="49" charset="-122"/>
                <a:ea typeface="黑体" pitchFamily="49" charset="-122"/>
              </a:rPr>
              <a:t>专注于特定产品或服务的品牌，</a:t>
            </a:r>
            <a:r>
              <a:rPr lang="zh-CN" altLang="zh-CN" sz="2400">
                <a:latin typeface="黑体" pitchFamily="49" charset="-122"/>
                <a:ea typeface="黑体" pitchFamily="49" charset="-122"/>
              </a:rPr>
              <a:t>必定</a:t>
            </a:r>
            <a:r>
              <a:rPr lang="zh-CN" altLang="en-US" sz="2400">
                <a:latin typeface="黑体" pitchFamily="49" charset="-122"/>
                <a:ea typeface="黑体" pitchFamily="49" charset="-122"/>
              </a:rPr>
              <a:t>拥</a:t>
            </a:r>
            <a:r>
              <a:rPr lang="zh-CN" altLang="zh-CN" sz="2400">
                <a:latin typeface="黑体" pitchFamily="49" charset="-122"/>
                <a:ea typeface="黑体" pitchFamily="49" charset="-122"/>
              </a:rPr>
              <a:t>有更多经验</a:t>
            </a:r>
            <a:r>
              <a:rPr lang="zh-CN" altLang="en-US" sz="2400">
                <a:latin typeface="黑体" pitchFamily="49" charset="-122"/>
                <a:ea typeface="黑体" pitchFamily="49" charset="-122"/>
              </a:rPr>
              <a:t>和技能，较之横跨多领域的通才品牌，更具可信度。</a:t>
            </a:r>
            <a:endParaRPr lang="en-US" altLang="zh-CN" sz="2400">
              <a:latin typeface="黑体" pitchFamily="49" charset="-122"/>
              <a:ea typeface="黑体" pitchFamily="49" charset="-122"/>
            </a:endParaRPr>
          </a:p>
        </p:txBody>
      </p:sp>
      <p:sp>
        <p:nvSpPr>
          <p:cNvPr id="6" name="文本框 5"/>
          <p:cNvSpPr txBox="1"/>
          <p:nvPr/>
        </p:nvSpPr>
        <p:spPr>
          <a:xfrm>
            <a:off x="4656138" y="2084388"/>
            <a:ext cx="2928937" cy="912812"/>
          </a:xfrm>
          <a:prstGeom prst="rect">
            <a:avLst/>
          </a:prstGeom>
          <a:noFill/>
        </p:spPr>
        <p:txBody>
          <a:bodyPr wrap="none">
            <a:spAutoFit/>
          </a:bodyPr>
          <a:lstStyle/>
          <a:p>
            <a:r>
              <a:rPr lang="zh-CN" altLang="en-US" sz="5300" b="1">
                <a:latin typeface="黑体" pitchFamily="49" charset="-122"/>
                <a:ea typeface="黑体" pitchFamily="49" charset="-122"/>
              </a:rPr>
              <a:t>专家品牌</a:t>
            </a:r>
            <a:endParaRPr lang="zh-CN" altLang="zh-CN" sz="5300" b="1">
              <a:latin typeface="黑体" pitchFamily="49" charset="-122"/>
              <a:ea typeface="黑体" pitchFamily="49" charset="-122"/>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B19D00E5-5718-4EEC-9D42-51169B5DA8F0}" type="slidenum">
              <a:rPr lang="zh-CN" altLang="en-US"/>
              <a:pPr defTabSz="912813" fontAlgn="base">
                <a:spcBef>
                  <a:spcPct val="0"/>
                </a:spcBef>
                <a:spcAft>
                  <a:spcPct val="0"/>
                </a:spcAft>
              </a:pPr>
              <a:t>48</a:t>
            </a:fld>
            <a:endParaRPr lang="en-US" altLang="zh-CN"/>
          </a:p>
        </p:txBody>
      </p:sp>
      <p:sp>
        <p:nvSpPr>
          <p:cNvPr id="16" name="副标题 5"/>
          <p:cNvSpPr txBox="1">
            <a:spLocks/>
          </p:cNvSpPr>
          <p:nvPr/>
        </p:nvSpPr>
        <p:spPr>
          <a:xfrm>
            <a:off x="285750" y="458788"/>
            <a:ext cx="10763250" cy="1047750"/>
          </a:xfrm>
          <a:prstGeom prst="rect">
            <a:avLst/>
          </a:prstGeom>
        </p:spPr>
        <p:txBody>
          <a:bodyPr lIns="121920" tIns="60960" rIns="121920" bIns="60960"/>
          <a:lstStyle/>
          <a:p>
            <a:pPr algn="just">
              <a:lnSpc>
                <a:spcPct val="150000"/>
              </a:lnSpc>
              <a:spcBef>
                <a:spcPct val="20000"/>
              </a:spcBef>
            </a:pPr>
            <a:r>
              <a:rPr lang="en-US" altLang="zh-CN" sz="4200" b="1">
                <a:solidFill>
                  <a:schemeClr val="bg1"/>
                </a:solidFill>
                <a:latin typeface="黑体" pitchFamily="49" charset="-122"/>
                <a:ea typeface="黑体" pitchFamily="49" charset="-122"/>
              </a:rPr>
              <a:t>4.</a:t>
            </a:r>
            <a:r>
              <a:rPr lang="zh-CN" altLang="en-US" sz="4200" b="1">
                <a:solidFill>
                  <a:schemeClr val="bg1"/>
                </a:solidFill>
                <a:latin typeface="黑体" pitchFamily="49" charset="-122"/>
                <a:ea typeface="黑体" pitchFamily="49" charset="-122"/>
              </a:rPr>
              <a:t>专家品牌</a:t>
            </a:r>
            <a:endParaRPr lang="en-US" altLang="zh-CN" sz="4200" b="1">
              <a:solidFill>
                <a:schemeClr val="bg1"/>
              </a:solidFill>
              <a:latin typeface="黑体" pitchFamily="49" charset="-122"/>
              <a:ea typeface="黑体" pitchFamily="49" charset="-122"/>
            </a:endParaRPr>
          </a:p>
        </p:txBody>
      </p:sp>
      <p:grpSp>
        <p:nvGrpSpPr>
          <p:cNvPr id="105475" name="组 16"/>
          <p:cNvGrpSpPr>
            <a:grpSpLocks/>
          </p:cNvGrpSpPr>
          <p:nvPr/>
        </p:nvGrpSpPr>
        <p:grpSpPr bwMode="auto">
          <a:xfrm>
            <a:off x="815975" y="1892300"/>
            <a:ext cx="3263900" cy="4321175"/>
            <a:chOff x="1566259" y="1651534"/>
            <a:chExt cx="2448000" cy="3240000"/>
          </a:xfrm>
        </p:grpSpPr>
        <p:pic>
          <p:nvPicPr>
            <p:cNvPr id="18" name="图片 17"/>
            <p:cNvPicPr>
              <a:picLocks noChangeAspect="1" noChangeArrowheads="1"/>
            </p:cNvPicPr>
            <p:nvPr/>
          </p:nvPicPr>
          <p:blipFill>
            <a:blip r:embed="rId3"/>
            <a:srcRect/>
            <a:stretch>
              <a:fillRect/>
            </a:stretch>
          </p:blipFill>
          <p:spPr bwMode="auto">
            <a:xfrm>
              <a:off x="1672503" y="1722384"/>
              <a:ext cx="2226564" cy="3131820"/>
            </a:xfrm>
            <a:prstGeom prst="rect">
              <a:avLst/>
            </a:prstGeom>
            <a:noFill/>
          </p:spPr>
        </p:pic>
        <p:pic>
          <p:nvPicPr>
            <p:cNvPr id="105483" name="图片 18"/>
            <p:cNvPicPr>
              <a:picLocks/>
            </p:cNvPicPr>
            <p:nvPr/>
          </p:nvPicPr>
          <p:blipFill>
            <a:blip r:embed="rId4"/>
            <a:srcRect/>
            <a:stretch>
              <a:fillRect/>
            </a:stretch>
          </p:blipFill>
          <p:spPr bwMode="auto">
            <a:xfrm>
              <a:off x="1566259" y="1651534"/>
              <a:ext cx="2448000" cy="3240000"/>
            </a:xfrm>
            <a:prstGeom prst="rect">
              <a:avLst/>
            </a:prstGeom>
            <a:noFill/>
            <a:ln w="9525">
              <a:noFill/>
              <a:miter lim="800000"/>
              <a:headEnd/>
              <a:tailEnd/>
            </a:ln>
          </p:spPr>
        </p:pic>
      </p:grpSp>
      <p:grpSp>
        <p:nvGrpSpPr>
          <p:cNvPr id="105476" name="组 2"/>
          <p:cNvGrpSpPr>
            <a:grpSpLocks/>
          </p:cNvGrpSpPr>
          <p:nvPr/>
        </p:nvGrpSpPr>
        <p:grpSpPr bwMode="auto">
          <a:xfrm>
            <a:off x="4760913" y="1897063"/>
            <a:ext cx="3263900" cy="4311650"/>
            <a:chOff x="3570213" y="1422295"/>
            <a:chExt cx="2448272" cy="3234653"/>
          </a:xfrm>
        </p:grpSpPr>
        <p:pic>
          <p:nvPicPr>
            <p:cNvPr id="105480" name="图片 23"/>
            <p:cNvPicPr>
              <a:picLocks noChangeAspect="1"/>
            </p:cNvPicPr>
            <p:nvPr/>
          </p:nvPicPr>
          <p:blipFill>
            <a:blip r:embed="rId5"/>
            <a:srcRect/>
            <a:stretch>
              <a:fillRect/>
            </a:stretch>
          </p:blipFill>
          <p:spPr bwMode="auto">
            <a:xfrm>
              <a:off x="3570213" y="1422295"/>
              <a:ext cx="2448272" cy="3234653"/>
            </a:xfrm>
            <a:prstGeom prst="rect">
              <a:avLst/>
            </a:prstGeom>
            <a:noFill/>
            <a:ln w="9525">
              <a:noFill/>
              <a:miter lim="800000"/>
              <a:headEnd/>
              <a:tailEnd/>
            </a:ln>
          </p:spPr>
        </p:pic>
        <p:pic>
          <p:nvPicPr>
            <p:cNvPr id="105481" name="图片 1"/>
            <p:cNvPicPr>
              <a:picLocks noChangeAspect="1"/>
            </p:cNvPicPr>
            <p:nvPr/>
          </p:nvPicPr>
          <p:blipFill>
            <a:blip r:embed="rId6"/>
            <a:srcRect/>
            <a:stretch>
              <a:fillRect/>
            </a:stretch>
          </p:blipFill>
          <p:spPr bwMode="auto">
            <a:xfrm>
              <a:off x="3696349" y="1563318"/>
              <a:ext cx="2196000" cy="2952605"/>
            </a:xfrm>
            <a:prstGeom prst="rect">
              <a:avLst/>
            </a:prstGeom>
            <a:noFill/>
            <a:ln w="9525">
              <a:noFill/>
              <a:miter lim="800000"/>
              <a:headEnd/>
              <a:tailEnd/>
            </a:ln>
          </p:spPr>
        </p:pic>
      </p:grpSp>
      <p:grpSp>
        <p:nvGrpSpPr>
          <p:cNvPr id="105477" name="组 8"/>
          <p:cNvGrpSpPr>
            <a:grpSpLocks/>
          </p:cNvGrpSpPr>
          <p:nvPr/>
        </p:nvGrpSpPr>
        <p:grpSpPr bwMode="auto">
          <a:xfrm>
            <a:off x="8705850" y="1925638"/>
            <a:ext cx="3263900" cy="4313237"/>
            <a:chOff x="6529138" y="915566"/>
            <a:chExt cx="2448272" cy="3234653"/>
          </a:xfrm>
        </p:grpSpPr>
        <p:pic>
          <p:nvPicPr>
            <p:cNvPr id="105478" name="图片 27"/>
            <p:cNvPicPr>
              <a:picLocks noChangeAspect="1"/>
            </p:cNvPicPr>
            <p:nvPr/>
          </p:nvPicPr>
          <p:blipFill>
            <a:blip r:embed="rId5"/>
            <a:srcRect/>
            <a:stretch>
              <a:fillRect/>
            </a:stretch>
          </p:blipFill>
          <p:spPr bwMode="auto">
            <a:xfrm>
              <a:off x="6529138" y="915566"/>
              <a:ext cx="2448272" cy="3234653"/>
            </a:xfrm>
            <a:prstGeom prst="rect">
              <a:avLst/>
            </a:prstGeom>
            <a:noFill/>
            <a:ln w="9525">
              <a:noFill/>
              <a:miter lim="800000"/>
              <a:headEnd/>
              <a:tailEnd/>
            </a:ln>
          </p:spPr>
        </p:pic>
        <p:pic>
          <p:nvPicPr>
            <p:cNvPr id="105479" name="图片 7"/>
            <p:cNvPicPr>
              <a:picLocks/>
            </p:cNvPicPr>
            <p:nvPr/>
          </p:nvPicPr>
          <p:blipFill>
            <a:blip r:embed="rId7"/>
            <a:srcRect/>
            <a:stretch>
              <a:fillRect/>
            </a:stretch>
          </p:blipFill>
          <p:spPr bwMode="auto">
            <a:xfrm>
              <a:off x="6673274" y="1056892"/>
              <a:ext cx="2160000" cy="295200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AECAC223-045E-4472-96A5-308B0034A625}" type="slidenum">
              <a:rPr lang="zh-CN" altLang="en-US"/>
              <a:pPr defTabSz="912813" fontAlgn="base">
                <a:spcBef>
                  <a:spcPct val="0"/>
                </a:spcBef>
                <a:spcAft>
                  <a:spcPct val="0"/>
                </a:spcAft>
              </a:pPr>
              <a:t>49</a:t>
            </a:fld>
            <a:endParaRPr lang="en-US" altLang="zh-CN"/>
          </a:p>
        </p:txBody>
      </p:sp>
      <p:sp>
        <p:nvSpPr>
          <p:cNvPr id="107522" name="文本框 2"/>
          <p:cNvSpPr txBox="1">
            <a:spLocks noChangeArrowheads="1"/>
          </p:cNvSpPr>
          <p:nvPr/>
        </p:nvSpPr>
        <p:spPr bwMode="auto">
          <a:xfrm>
            <a:off x="911225" y="3813175"/>
            <a:ext cx="10369550" cy="1754188"/>
          </a:xfrm>
          <a:prstGeom prst="rect">
            <a:avLst/>
          </a:prstGeom>
          <a:noFill/>
          <a:ln w="9525">
            <a:noFill/>
            <a:miter lim="800000"/>
            <a:headEnd/>
            <a:tailEnd/>
          </a:ln>
        </p:spPr>
        <p:txBody>
          <a:bodyPr>
            <a:spAutoFit/>
          </a:bodyPr>
          <a:lstStyle/>
          <a:p>
            <a:pPr>
              <a:lnSpc>
                <a:spcPct val="150000"/>
              </a:lnSpc>
            </a:pPr>
            <a:r>
              <a:rPr lang="zh-CN" altLang="en-US" sz="2400">
                <a:latin typeface="黑体" pitchFamily="49" charset="-122"/>
                <a:ea typeface="黑体" pitchFamily="49" charset="-122"/>
              </a:rPr>
              <a:t>    消费者通常会认为，历史悠久的品牌在相关领域经验更丰富。因此</a:t>
            </a:r>
            <a:r>
              <a:rPr lang="zh-CN" altLang="zh-CN" sz="2400">
                <a:latin typeface="黑体" pitchFamily="49" charset="-122"/>
                <a:ea typeface="黑体" pitchFamily="49" charset="-122"/>
              </a:rPr>
              <a:t>选择</a:t>
            </a:r>
            <a:r>
              <a:rPr lang="zh-CN" altLang="en-US" sz="2400">
                <a:latin typeface="黑体" pitchFamily="49" charset="-122"/>
                <a:ea typeface="黑体" pitchFamily="49" charset="-122"/>
              </a:rPr>
              <a:t>历史悠久的品牌更</a:t>
            </a:r>
            <a:r>
              <a:rPr lang="zh-CN" altLang="zh-CN" sz="2400">
                <a:latin typeface="黑体" pitchFamily="49" charset="-122"/>
                <a:ea typeface="黑体" pitchFamily="49" charset="-122"/>
              </a:rPr>
              <a:t>有安全感</a:t>
            </a:r>
            <a:r>
              <a:rPr lang="zh-CN" altLang="en-US" sz="2400">
                <a:latin typeface="黑体" pitchFamily="49" charset="-122"/>
                <a:ea typeface="黑体" pitchFamily="49" charset="-122"/>
              </a:rPr>
              <a:t>。</a:t>
            </a:r>
            <a:endParaRPr lang="en-US" altLang="zh-CN" sz="2400">
              <a:latin typeface="黑体" pitchFamily="49" charset="-122"/>
              <a:ea typeface="黑体" pitchFamily="49" charset="-122"/>
            </a:endParaRPr>
          </a:p>
          <a:p>
            <a:pPr>
              <a:lnSpc>
                <a:spcPct val="150000"/>
              </a:lnSpc>
            </a:pPr>
            <a:r>
              <a:rPr lang="zh-CN" altLang="en-US" sz="2400">
                <a:latin typeface="黑体" pitchFamily="49" charset="-122"/>
                <a:ea typeface="黑体" pitchFamily="49" charset="-122"/>
              </a:rPr>
              <a:t>    品牌可通过创始年代、品牌传承等方式展现其悠久历史。</a:t>
            </a:r>
            <a:endParaRPr lang="en-US" altLang="zh-CN" sz="2400">
              <a:latin typeface="黑体" pitchFamily="49" charset="-122"/>
              <a:ea typeface="黑体" pitchFamily="49" charset="-122"/>
            </a:endParaRPr>
          </a:p>
        </p:txBody>
      </p:sp>
      <p:sp>
        <p:nvSpPr>
          <p:cNvPr id="6" name="文本框 5"/>
          <p:cNvSpPr txBox="1"/>
          <p:nvPr/>
        </p:nvSpPr>
        <p:spPr>
          <a:xfrm>
            <a:off x="4656138" y="2084388"/>
            <a:ext cx="2928937" cy="912812"/>
          </a:xfrm>
          <a:prstGeom prst="rect">
            <a:avLst/>
          </a:prstGeom>
          <a:noFill/>
        </p:spPr>
        <p:txBody>
          <a:bodyPr wrap="none">
            <a:spAutoFit/>
          </a:bodyPr>
          <a:lstStyle/>
          <a:p>
            <a:r>
              <a:rPr lang="zh-CN" altLang="en-US" sz="5300" b="1">
                <a:latin typeface="黑体" pitchFamily="49" charset="-122"/>
                <a:ea typeface="黑体" pitchFamily="49" charset="-122"/>
              </a:rPr>
              <a:t>历史悠久</a:t>
            </a:r>
            <a:endParaRPr lang="zh-CN" altLang="zh-CN" sz="5300" b="1">
              <a:latin typeface="黑体" pitchFamily="49" charset="-122"/>
              <a:ea typeface="黑体" pitchFamily="49" charset="-122"/>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Footer Placeholder 7"/>
          <p:cNvSpPr>
            <a:spLocks noGrp="1"/>
          </p:cNvSpPr>
          <p:nvPr>
            <p:ph type="ftr" sz="quarter" idx="4294967295"/>
          </p:nvPr>
        </p:nvSpPr>
        <p:spPr bwMode="auto">
          <a:xfrm>
            <a:off x="7321550" y="6438900"/>
            <a:ext cx="4822825" cy="365125"/>
          </a:xfrm>
          <a:prstGeom prst="rect">
            <a:avLst/>
          </a:prstGeom>
          <a:noFill/>
          <a:ln>
            <a:miter lim="800000"/>
            <a:headEnd/>
            <a:tailEnd/>
          </a:ln>
        </p:spPr>
        <p:txBody>
          <a:bodyPr/>
          <a:lstStyle/>
          <a:p>
            <a:pPr algn="r"/>
            <a:endParaRPr lang="en-US" altLang="zh-CN" sz="1400">
              <a:solidFill>
                <a:srgbClr val="FFFFFF"/>
              </a:solidFill>
              <a:latin typeface="华文隶书"/>
              <a:ea typeface="华文隶书"/>
              <a:cs typeface="华文隶书"/>
            </a:endParaRPr>
          </a:p>
        </p:txBody>
      </p:sp>
      <p:sp>
        <p:nvSpPr>
          <p:cNvPr id="38914" name="矩形 1"/>
          <p:cNvSpPr>
            <a:spLocks noChangeArrowheads="1"/>
          </p:cNvSpPr>
          <p:nvPr/>
        </p:nvSpPr>
        <p:spPr bwMode="auto">
          <a:xfrm>
            <a:off x="1304925" y="668338"/>
            <a:ext cx="9399588" cy="5446712"/>
          </a:xfrm>
          <a:prstGeom prst="rect">
            <a:avLst/>
          </a:prstGeom>
          <a:noFill/>
          <a:ln w="9525">
            <a:noFill/>
            <a:miter lim="800000"/>
            <a:headEnd/>
            <a:tailEnd/>
          </a:ln>
        </p:spPr>
        <p:txBody>
          <a:bodyPr>
            <a:spAutoFit/>
          </a:bodyPr>
          <a:lstStyle/>
          <a:p>
            <a:r>
              <a:rPr lang="zh-CN" altLang="en-US" sz="4000" b="1">
                <a:solidFill>
                  <a:srgbClr val="FF0000"/>
                </a:solidFill>
                <a:latin typeface="Calibri Light"/>
                <a:ea typeface="微软雅黑" pitchFamily="34" charset="-122"/>
              </a:rPr>
              <a:t>顾客的认知成本是企业经营的最高成本。</a:t>
            </a:r>
            <a:endParaRPr lang="en-US" altLang="zh-CN" sz="4000" b="1">
              <a:solidFill>
                <a:srgbClr val="FF0000"/>
              </a:solidFill>
              <a:latin typeface="Calibri Light"/>
              <a:ea typeface="微软雅黑" pitchFamily="34" charset="-122"/>
            </a:endParaRPr>
          </a:p>
          <a:p>
            <a:pPr>
              <a:lnSpc>
                <a:spcPct val="150000"/>
              </a:lnSpc>
            </a:pPr>
            <a:endParaRPr lang="en-US" altLang="zh-CN" sz="2400">
              <a:latin typeface="Calibri Light"/>
              <a:ea typeface="微软雅黑" pitchFamily="34" charset="-122"/>
            </a:endParaRPr>
          </a:p>
          <a:p>
            <a:pPr>
              <a:lnSpc>
                <a:spcPct val="200000"/>
              </a:lnSpc>
            </a:pPr>
            <a:r>
              <a:rPr lang="zh-CN" altLang="en-US" sz="3200" b="1">
                <a:latin typeface="Calibri Light"/>
                <a:ea typeface="微软雅黑" pitchFamily="34" charset="-122"/>
              </a:rPr>
              <a:t>克服人们长久以来的选择惯性和经验主义，</a:t>
            </a:r>
            <a:endParaRPr lang="en-US" altLang="zh-CN" sz="3200" b="1">
              <a:latin typeface="Calibri Light"/>
              <a:ea typeface="微软雅黑" pitchFamily="34" charset="-122"/>
            </a:endParaRPr>
          </a:p>
          <a:p>
            <a:pPr>
              <a:lnSpc>
                <a:spcPct val="200000"/>
              </a:lnSpc>
            </a:pPr>
            <a:r>
              <a:rPr lang="zh-CN" altLang="en-US" sz="3200" b="1">
                <a:latin typeface="Calibri Light"/>
                <a:ea typeface="微软雅黑" pitchFamily="34" charset="-122"/>
              </a:rPr>
              <a:t>建立新认知，培养新习惯是十分不易的。</a:t>
            </a:r>
            <a:endParaRPr lang="en-US" altLang="zh-CN" sz="3200" b="1">
              <a:latin typeface="Calibri Light"/>
              <a:ea typeface="微软雅黑" pitchFamily="34" charset="-122"/>
            </a:endParaRPr>
          </a:p>
          <a:p>
            <a:pPr>
              <a:lnSpc>
                <a:spcPct val="200000"/>
              </a:lnSpc>
            </a:pPr>
            <a:r>
              <a:rPr lang="zh-CN" altLang="en-US" sz="2400">
                <a:latin typeface="Calibri Light"/>
                <a:ea typeface="微软雅黑" pitchFamily="34" charset="-122"/>
              </a:rPr>
              <a:t>或许你能赁低价获得尝试，</a:t>
            </a:r>
            <a:endParaRPr lang="en-US" altLang="zh-CN" sz="2400">
              <a:latin typeface="Calibri Light"/>
              <a:ea typeface="微软雅黑" pitchFamily="34" charset="-122"/>
            </a:endParaRPr>
          </a:p>
          <a:p>
            <a:pPr>
              <a:lnSpc>
                <a:spcPct val="200000"/>
              </a:lnSpc>
            </a:pPr>
            <a:r>
              <a:rPr lang="zh-CN" altLang="en-US" sz="2400">
                <a:latin typeface="Calibri Light"/>
                <a:ea typeface="微软雅黑" pitchFamily="34" charset="-122"/>
              </a:rPr>
              <a:t>但随着消费升级和时间推移，</a:t>
            </a:r>
            <a:endParaRPr lang="en-US" altLang="zh-CN" sz="2400">
              <a:latin typeface="Calibri Light"/>
              <a:ea typeface="微软雅黑" pitchFamily="34" charset="-122"/>
            </a:endParaRPr>
          </a:p>
          <a:p>
            <a:pPr>
              <a:lnSpc>
                <a:spcPct val="200000"/>
              </a:lnSpc>
            </a:pPr>
            <a:r>
              <a:rPr lang="zh-CN" altLang="en-US" sz="2400">
                <a:latin typeface="Calibri Light"/>
                <a:ea typeface="微软雅黑" pitchFamily="34" charset="-122"/>
              </a:rPr>
              <a:t>你又会被遗忘在记忆的某个角落</a:t>
            </a: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D8470B33-C928-4D17-8AB3-0ECE435F3E7D}" type="slidenum">
              <a:rPr lang="zh-CN" altLang="en-US"/>
              <a:pPr defTabSz="912813" fontAlgn="base">
                <a:spcBef>
                  <a:spcPct val="0"/>
                </a:spcBef>
                <a:spcAft>
                  <a:spcPct val="0"/>
                </a:spcAft>
              </a:pPr>
              <a:t>50</a:t>
            </a:fld>
            <a:endParaRPr lang="en-US" altLang="zh-CN"/>
          </a:p>
        </p:txBody>
      </p:sp>
      <p:sp>
        <p:nvSpPr>
          <p:cNvPr id="19" name="副标题 5"/>
          <p:cNvSpPr txBox="1">
            <a:spLocks/>
          </p:cNvSpPr>
          <p:nvPr/>
        </p:nvSpPr>
        <p:spPr>
          <a:xfrm>
            <a:off x="285750" y="458788"/>
            <a:ext cx="10763250" cy="1047750"/>
          </a:xfrm>
          <a:prstGeom prst="rect">
            <a:avLst/>
          </a:prstGeom>
        </p:spPr>
        <p:txBody>
          <a:bodyPr lIns="121920" tIns="60960" rIns="121920" bIns="60960"/>
          <a:lstStyle/>
          <a:p>
            <a:pPr algn="just">
              <a:lnSpc>
                <a:spcPct val="150000"/>
              </a:lnSpc>
              <a:spcBef>
                <a:spcPct val="20000"/>
              </a:spcBef>
            </a:pPr>
            <a:r>
              <a:rPr lang="en-US" altLang="zh-CN" sz="4200" b="1">
                <a:solidFill>
                  <a:schemeClr val="bg1"/>
                </a:solidFill>
                <a:latin typeface="黑体" pitchFamily="49" charset="-122"/>
                <a:ea typeface="黑体" pitchFamily="49" charset="-122"/>
              </a:rPr>
              <a:t>5.</a:t>
            </a:r>
            <a:r>
              <a:rPr lang="zh-CN" altLang="en-US" sz="4200" b="1">
                <a:solidFill>
                  <a:schemeClr val="bg1"/>
                </a:solidFill>
                <a:latin typeface="黑体" pitchFamily="49" charset="-122"/>
                <a:ea typeface="黑体" pitchFamily="49" charset="-122"/>
              </a:rPr>
              <a:t>历史悠久</a:t>
            </a:r>
            <a:endParaRPr lang="en-US" altLang="zh-CN" sz="4200" b="1">
              <a:solidFill>
                <a:schemeClr val="bg1"/>
              </a:solidFill>
              <a:latin typeface="黑体" pitchFamily="49" charset="-122"/>
              <a:ea typeface="黑体" pitchFamily="49" charset="-122"/>
            </a:endParaRPr>
          </a:p>
        </p:txBody>
      </p:sp>
      <p:grpSp>
        <p:nvGrpSpPr>
          <p:cNvPr id="109571" name="组 9"/>
          <p:cNvGrpSpPr>
            <a:grpSpLocks/>
          </p:cNvGrpSpPr>
          <p:nvPr/>
        </p:nvGrpSpPr>
        <p:grpSpPr bwMode="auto">
          <a:xfrm>
            <a:off x="4418013" y="2039938"/>
            <a:ext cx="3263900" cy="4313237"/>
            <a:chOff x="3215224" y="1260295"/>
            <a:chExt cx="2448272" cy="3234653"/>
          </a:xfrm>
        </p:grpSpPr>
        <p:pic>
          <p:nvPicPr>
            <p:cNvPr id="109582" name="图片 2"/>
            <p:cNvPicPr>
              <a:picLocks/>
            </p:cNvPicPr>
            <p:nvPr/>
          </p:nvPicPr>
          <p:blipFill>
            <a:blip r:embed="rId3"/>
            <a:srcRect/>
            <a:stretch>
              <a:fillRect/>
            </a:stretch>
          </p:blipFill>
          <p:spPr bwMode="auto">
            <a:xfrm>
              <a:off x="3341360" y="1419622"/>
              <a:ext cx="2196000" cy="2952000"/>
            </a:xfrm>
            <a:prstGeom prst="rect">
              <a:avLst/>
            </a:prstGeom>
            <a:noFill/>
            <a:ln w="9525">
              <a:noFill/>
              <a:miter lim="800000"/>
              <a:headEnd/>
              <a:tailEnd/>
            </a:ln>
          </p:spPr>
        </p:pic>
        <p:pic>
          <p:nvPicPr>
            <p:cNvPr id="109583" name="图片 23"/>
            <p:cNvPicPr>
              <a:picLocks noChangeAspect="1"/>
            </p:cNvPicPr>
            <p:nvPr/>
          </p:nvPicPr>
          <p:blipFill>
            <a:blip r:embed="rId4"/>
            <a:srcRect/>
            <a:stretch>
              <a:fillRect/>
            </a:stretch>
          </p:blipFill>
          <p:spPr bwMode="auto">
            <a:xfrm>
              <a:off x="3215224" y="1260295"/>
              <a:ext cx="2448272" cy="3234653"/>
            </a:xfrm>
            <a:prstGeom prst="rect">
              <a:avLst/>
            </a:prstGeom>
            <a:noFill/>
            <a:ln w="9525">
              <a:noFill/>
              <a:miter lim="800000"/>
              <a:headEnd/>
              <a:tailEnd/>
            </a:ln>
          </p:spPr>
        </p:pic>
      </p:grpSp>
      <p:grpSp>
        <p:nvGrpSpPr>
          <p:cNvPr id="109572" name="组 11"/>
          <p:cNvGrpSpPr>
            <a:grpSpLocks/>
          </p:cNvGrpSpPr>
          <p:nvPr/>
        </p:nvGrpSpPr>
        <p:grpSpPr bwMode="auto">
          <a:xfrm>
            <a:off x="8386763" y="2039938"/>
            <a:ext cx="3263900" cy="4313237"/>
            <a:chOff x="6521884" y="915566"/>
            <a:chExt cx="2448272" cy="3234653"/>
          </a:xfrm>
        </p:grpSpPr>
        <p:pic>
          <p:nvPicPr>
            <p:cNvPr id="109580" name="图片 34"/>
            <p:cNvPicPr>
              <a:picLocks noChangeAspect="1"/>
            </p:cNvPicPr>
            <p:nvPr/>
          </p:nvPicPr>
          <p:blipFill>
            <a:blip r:embed="rId4"/>
            <a:srcRect/>
            <a:stretch>
              <a:fillRect/>
            </a:stretch>
          </p:blipFill>
          <p:spPr bwMode="auto">
            <a:xfrm>
              <a:off x="6521884" y="915566"/>
              <a:ext cx="2448272" cy="3234653"/>
            </a:xfrm>
            <a:prstGeom prst="rect">
              <a:avLst/>
            </a:prstGeom>
            <a:noFill/>
            <a:ln w="9525">
              <a:noFill/>
              <a:miter lim="800000"/>
              <a:headEnd/>
              <a:tailEnd/>
            </a:ln>
          </p:spPr>
        </p:pic>
        <p:pic>
          <p:nvPicPr>
            <p:cNvPr id="109581" name="图片 10"/>
            <p:cNvPicPr>
              <a:picLocks/>
            </p:cNvPicPr>
            <p:nvPr/>
          </p:nvPicPr>
          <p:blipFill>
            <a:blip r:embed="rId5"/>
            <a:srcRect/>
            <a:stretch>
              <a:fillRect/>
            </a:stretch>
          </p:blipFill>
          <p:spPr bwMode="auto">
            <a:xfrm>
              <a:off x="6648020" y="1056892"/>
              <a:ext cx="2196000" cy="2952000"/>
            </a:xfrm>
            <a:prstGeom prst="rect">
              <a:avLst/>
            </a:prstGeom>
            <a:noFill/>
            <a:ln w="9525">
              <a:noFill/>
              <a:miter lim="800000"/>
              <a:headEnd/>
              <a:tailEnd/>
            </a:ln>
          </p:spPr>
        </p:pic>
      </p:grpSp>
      <p:grpSp>
        <p:nvGrpSpPr>
          <p:cNvPr id="109573" name="组 4"/>
          <p:cNvGrpSpPr>
            <a:grpSpLocks/>
          </p:cNvGrpSpPr>
          <p:nvPr/>
        </p:nvGrpSpPr>
        <p:grpSpPr bwMode="auto">
          <a:xfrm>
            <a:off x="449263" y="2039938"/>
            <a:ext cx="3263900" cy="4313237"/>
            <a:chOff x="310415" y="737191"/>
            <a:chExt cx="2448272" cy="3234653"/>
          </a:xfrm>
        </p:grpSpPr>
        <p:pic>
          <p:nvPicPr>
            <p:cNvPr id="109578" name="图片 19"/>
            <p:cNvPicPr>
              <a:picLocks noChangeAspect="1"/>
            </p:cNvPicPr>
            <p:nvPr/>
          </p:nvPicPr>
          <p:blipFill>
            <a:blip r:embed="rId4"/>
            <a:srcRect/>
            <a:stretch>
              <a:fillRect/>
            </a:stretch>
          </p:blipFill>
          <p:spPr bwMode="auto">
            <a:xfrm>
              <a:off x="310415" y="737191"/>
              <a:ext cx="2448272" cy="3234653"/>
            </a:xfrm>
            <a:prstGeom prst="rect">
              <a:avLst/>
            </a:prstGeom>
            <a:noFill/>
            <a:ln w="9525">
              <a:noFill/>
              <a:miter lim="800000"/>
              <a:headEnd/>
              <a:tailEnd/>
            </a:ln>
          </p:spPr>
        </p:pic>
        <p:pic>
          <p:nvPicPr>
            <p:cNvPr id="109579" name="图片 1"/>
            <p:cNvPicPr>
              <a:picLocks noChangeAspect="1"/>
            </p:cNvPicPr>
            <p:nvPr/>
          </p:nvPicPr>
          <p:blipFill>
            <a:blip r:embed="rId6"/>
            <a:srcRect/>
            <a:stretch>
              <a:fillRect/>
            </a:stretch>
          </p:blipFill>
          <p:spPr bwMode="auto">
            <a:xfrm>
              <a:off x="453808" y="896517"/>
              <a:ext cx="2161485" cy="2916000"/>
            </a:xfrm>
            <a:prstGeom prst="rect">
              <a:avLst/>
            </a:prstGeom>
            <a:noFill/>
            <a:ln w="9525">
              <a:noFill/>
              <a:miter lim="800000"/>
              <a:headEnd/>
              <a:tailEnd/>
            </a:ln>
          </p:spPr>
        </p:pic>
      </p:grpSp>
      <p:sp>
        <p:nvSpPr>
          <p:cNvPr id="21" name="矩形 20"/>
          <p:cNvSpPr/>
          <p:nvPr/>
        </p:nvSpPr>
        <p:spPr>
          <a:xfrm>
            <a:off x="4225925" y="5514975"/>
            <a:ext cx="3692525" cy="384175"/>
          </a:xfrm>
          <a:prstGeom prst="rect">
            <a:avLst/>
          </a:prstGeom>
          <a:noFill/>
        </p:spPr>
        <p:style>
          <a:lnRef idx="2">
            <a:schemeClr val="accent6"/>
          </a:lnRef>
          <a:fillRef idx="1">
            <a:schemeClr val="lt1"/>
          </a:fillRef>
          <a:effectRef idx="0">
            <a:schemeClr val="accent6"/>
          </a:effectRef>
          <a:fontRef idx="minor">
            <a:schemeClr val="dk1"/>
          </a:fontRef>
        </p:style>
        <p:txBody>
          <a:bodyPr anchor="ctr"/>
          <a:lstStyle/>
          <a:p>
            <a:pPr algn="ctr" defTabSz="914377" fontAlgn="auto">
              <a:spcBef>
                <a:spcPts val="0"/>
              </a:spcBef>
              <a:spcAft>
                <a:spcPts val="0"/>
              </a:spcAft>
              <a:defRPr/>
            </a:pPr>
            <a:endParaRPr kumimoji="1" lang="zh-CN" altLang="en-US" sz="2400"/>
          </a:p>
        </p:txBody>
      </p:sp>
      <p:sp>
        <p:nvSpPr>
          <p:cNvPr id="15" name="矩形标注 14"/>
          <p:cNvSpPr/>
          <p:nvPr/>
        </p:nvSpPr>
        <p:spPr>
          <a:xfrm>
            <a:off x="10018713" y="1503363"/>
            <a:ext cx="1811337" cy="344487"/>
          </a:xfrm>
          <a:prstGeom prst="wedgeRectCallout">
            <a:avLst>
              <a:gd name="adj1" fmla="val 12441"/>
              <a:gd name="adj2" fmla="val 205240"/>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kumimoji="1" lang="zh-CN" altLang="en-US" sz="2100">
                <a:solidFill>
                  <a:srgbClr val="FFFFFF"/>
                </a:solidFill>
                <a:latin typeface="黑体" pitchFamily="49" charset="-122"/>
                <a:ea typeface="黑体" pitchFamily="49" charset="-122"/>
              </a:rPr>
              <a:t>传世</a:t>
            </a:r>
            <a:r>
              <a:rPr kumimoji="1" lang="en-US" altLang="zh-CN" sz="2100">
                <a:solidFill>
                  <a:srgbClr val="FFFFFF"/>
                </a:solidFill>
                <a:latin typeface="黑体" pitchFamily="49" charset="-122"/>
                <a:ea typeface="黑体" pitchFamily="49" charset="-122"/>
              </a:rPr>
              <a:t>185</a:t>
            </a:r>
            <a:r>
              <a:rPr kumimoji="1" lang="zh-CN" altLang="en-US" sz="2100">
                <a:solidFill>
                  <a:srgbClr val="FFFFFF"/>
                </a:solidFill>
                <a:latin typeface="黑体" pitchFamily="49" charset="-122"/>
                <a:ea typeface="黑体" pitchFamily="49" charset="-122"/>
              </a:rPr>
              <a:t>年 </a:t>
            </a:r>
            <a:endParaRPr kumimoji="1" lang="zh-CN" altLang="en-US" sz="2100">
              <a:solidFill>
                <a:schemeClr val="bg1"/>
              </a:solidFill>
              <a:latin typeface="黑体" pitchFamily="49" charset="-122"/>
              <a:ea typeface="黑体" pitchFamily="49" charset="-122"/>
            </a:endParaRPr>
          </a:p>
        </p:txBody>
      </p:sp>
      <p:sp>
        <p:nvSpPr>
          <p:cNvPr id="16" name="矩形 15"/>
          <p:cNvSpPr/>
          <p:nvPr/>
        </p:nvSpPr>
        <p:spPr>
          <a:xfrm>
            <a:off x="285750" y="3317875"/>
            <a:ext cx="3692525" cy="303213"/>
          </a:xfrm>
          <a:prstGeom prst="rect">
            <a:avLst/>
          </a:prstGeom>
          <a:noFill/>
        </p:spPr>
        <p:style>
          <a:lnRef idx="2">
            <a:schemeClr val="accent6"/>
          </a:lnRef>
          <a:fillRef idx="1">
            <a:schemeClr val="lt1"/>
          </a:fillRef>
          <a:effectRef idx="0">
            <a:schemeClr val="accent6"/>
          </a:effectRef>
          <a:fontRef idx="minor">
            <a:schemeClr val="dk1"/>
          </a:fontRef>
        </p:style>
        <p:txBody>
          <a:bodyPr anchor="ctr"/>
          <a:lstStyle/>
          <a:p>
            <a:pPr algn="ctr" defTabSz="914377" fontAlgn="auto">
              <a:spcBef>
                <a:spcPts val="0"/>
              </a:spcBef>
              <a:spcAft>
                <a:spcPts val="0"/>
              </a:spcAft>
              <a:defRPr/>
            </a:pPr>
            <a:endParaRPr kumimoji="1" lang="zh-CN" altLang="en-US" sz="2400"/>
          </a:p>
        </p:txBody>
      </p:sp>
      <p:sp>
        <p:nvSpPr>
          <p:cNvPr id="17" name="矩形 16"/>
          <p:cNvSpPr/>
          <p:nvPr/>
        </p:nvSpPr>
        <p:spPr>
          <a:xfrm>
            <a:off x="8137525" y="5724525"/>
            <a:ext cx="3692525" cy="384175"/>
          </a:xfrm>
          <a:prstGeom prst="rect">
            <a:avLst/>
          </a:prstGeom>
          <a:noFill/>
        </p:spPr>
        <p:style>
          <a:lnRef idx="2">
            <a:schemeClr val="accent6"/>
          </a:lnRef>
          <a:fillRef idx="1">
            <a:schemeClr val="lt1"/>
          </a:fillRef>
          <a:effectRef idx="0">
            <a:schemeClr val="accent6"/>
          </a:effectRef>
          <a:fontRef idx="minor">
            <a:schemeClr val="dk1"/>
          </a:fontRef>
        </p:style>
        <p:txBody>
          <a:bodyPr anchor="ctr"/>
          <a:lstStyle/>
          <a:p>
            <a:pPr algn="ctr" defTabSz="914377" fontAlgn="auto">
              <a:spcBef>
                <a:spcPts val="0"/>
              </a:spcBef>
              <a:spcAft>
                <a:spcPts val="0"/>
              </a:spcAft>
              <a:defRPr/>
            </a:pPr>
            <a:endParaRPr kumimoji="1" lang="zh-CN" altLang="en-US" sz="240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7"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9EBC1228-546B-4ADD-8B21-934729B8C11D}" type="slidenum">
              <a:rPr lang="zh-CN" altLang="en-US"/>
              <a:pPr defTabSz="912813" fontAlgn="base">
                <a:spcBef>
                  <a:spcPct val="0"/>
                </a:spcBef>
                <a:spcAft>
                  <a:spcPct val="0"/>
                </a:spcAft>
              </a:pPr>
              <a:t>51</a:t>
            </a:fld>
            <a:endParaRPr lang="en-US" altLang="zh-CN"/>
          </a:p>
        </p:txBody>
      </p:sp>
      <p:sp>
        <p:nvSpPr>
          <p:cNvPr id="111618" name="文本框 2"/>
          <p:cNvSpPr txBox="1">
            <a:spLocks noChangeArrowheads="1"/>
          </p:cNvSpPr>
          <p:nvPr/>
        </p:nvSpPr>
        <p:spPr bwMode="auto">
          <a:xfrm>
            <a:off x="1103313" y="4292600"/>
            <a:ext cx="10272712" cy="1200150"/>
          </a:xfrm>
          <a:prstGeom prst="rect">
            <a:avLst/>
          </a:prstGeom>
          <a:noFill/>
          <a:ln w="9525">
            <a:noFill/>
            <a:miter lim="800000"/>
            <a:headEnd/>
            <a:tailEnd/>
          </a:ln>
        </p:spPr>
        <p:txBody>
          <a:bodyPr>
            <a:spAutoFit/>
          </a:bodyPr>
          <a:lstStyle/>
          <a:p>
            <a:pPr>
              <a:lnSpc>
                <a:spcPct val="150000"/>
              </a:lnSpc>
            </a:pPr>
            <a:r>
              <a:rPr lang="zh-CN" altLang="en-US" sz="2400">
                <a:latin typeface="黑体" pitchFamily="49" charset="-122"/>
                <a:ea typeface="黑体" pitchFamily="49" charset="-122"/>
              </a:rPr>
              <a:t>    人们往往信任开创者，因其原创，更具专业，并视其竞争对手为模仿者。此外，品牌的开创者地位不可复制。</a:t>
            </a:r>
            <a:endParaRPr lang="en-US" altLang="zh-CN" sz="2400">
              <a:latin typeface="黑体" pitchFamily="49" charset="-122"/>
              <a:ea typeface="黑体" pitchFamily="49" charset="-122"/>
            </a:endParaRPr>
          </a:p>
        </p:txBody>
      </p:sp>
      <p:sp>
        <p:nvSpPr>
          <p:cNvPr id="6" name="文本框 5"/>
          <p:cNvSpPr txBox="1"/>
          <p:nvPr/>
        </p:nvSpPr>
        <p:spPr>
          <a:xfrm>
            <a:off x="4656138" y="2084388"/>
            <a:ext cx="2243137" cy="912812"/>
          </a:xfrm>
          <a:prstGeom prst="rect">
            <a:avLst/>
          </a:prstGeom>
          <a:noFill/>
        </p:spPr>
        <p:txBody>
          <a:bodyPr wrap="none">
            <a:spAutoFit/>
          </a:bodyPr>
          <a:lstStyle/>
          <a:p>
            <a:r>
              <a:rPr lang="zh-CN" altLang="en-US" sz="5300" b="1">
                <a:latin typeface="黑体" pitchFamily="49" charset="-122"/>
                <a:ea typeface="黑体" pitchFamily="49" charset="-122"/>
              </a:rPr>
              <a:t>开创者</a:t>
            </a:r>
            <a:endParaRPr lang="zh-CN" altLang="zh-CN" sz="5300" b="1">
              <a:latin typeface="黑体" pitchFamily="49" charset="-122"/>
              <a:ea typeface="黑体" pitchFamily="49" charset="-122"/>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569F6C06-7C0E-449B-B4B8-9477A0A8CD25}" type="slidenum">
              <a:rPr lang="zh-CN" altLang="en-US"/>
              <a:pPr defTabSz="912813" fontAlgn="base">
                <a:spcBef>
                  <a:spcPct val="0"/>
                </a:spcBef>
                <a:spcAft>
                  <a:spcPct val="0"/>
                </a:spcAft>
              </a:pPr>
              <a:t>52</a:t>
            </a:fld>
            <a:endParaRPr lang="en-US" altLang="zh-CN"/>
          </a:p>
        </p:txBody>
      </p:sp>
      <p:grpSp>
        <p:nvGrpSpPr>
          <p:cNvPr id="113666" name="组 13"/>
          <p:cNvGrpSpPr>
            <a:grpSpLocks/>
          </p:cNvGrpSpPr>
          <p:nvPr/>
        </p:nvGrpSpPr>
        <p:grpSpPr bwMode="auto">
          <a:xfrm>
            <a:off x="8386763" y="2025650"/>
            <a:ext cx="3263900" cy="4313238"/>
            <a:chOff x="6309384" y="1527010"/>
            <a:chExt cx="2448272" cy="3234653"/>
          </a:xfrm>
        </p:grpSpPr>
        <p:pic>
          <p:nvPicPr>
            <p:cNvPr id="113677" name="图片 12"/>
            <p:cNvPicPr>
              <a:picLocks noChangeAspect="1"/>
            </p:cNvPicPr>
            <p:nvPr/>
          </p:nvPicPr>
          <p:blipFill>
            <a:blip r:embed="rId3"/>
            <a:srcRect/>
            <a:stretch>
              <a:fillRect/>
            </a:stretch>
          </p:blipFill>
          <p:spPr bwMode="auto">
            <a:xfrm>
              <a:off x="6309384" y="1527010"/>
              <a:ext cx="2448272" cy="3234653"/>
            </a:xfrm>
            <a:prstGeom prst="rect">
              <a:avLst/>
            </a:prstGeom>
            <a:noFill/>
            <a:ln w="9525">
              <a:noFill/>
              <a:miter lim="800000"/>
              <a:headEnd/>
              <a:tailEnd/>
            </a:ln>
          </p:spPr>
        </p:pic>
        <p:pic>
          <p:nvPicPr>
            <p:cNvPr id="113678" name="图片 10"/>
            <p:cNvPicPr>
              <a:picLocks noChangeAspect="1"/>
            </p:cNvPicPr>
            <p:nvPr/>
          </p:nvPicPr>
          <p:blipFill>
            <a:blip r:embed="rId4"/>
            <a:srcRect/>
            <a:stretch>
              <a:fillRect/>
            </a:stretch>
          </p:blipFill>
          <p:spPr bwMode="auto">
            <a:xfrm>
              <a:off x="6444089" y="1657076"/>
              <a:ext cx="2175411" cy="2952000"/>
            </a:xfrm>
            <a:prstGeom prst="rect">
              <a:avLst/>
            </a:prstGeom>
            <a:noFill/>
            <a:ln w="9525">
              <a:noFill/>
              <a:miter lim="800000"/>
              <a:headEnd/>
              <a:tailEnd/>
            </a:ln>
          </p:spPr>
        </p:pic>
      </p:grpSp>
      <p:sp>
        <p:nvSpPr>
          <p:cNvPr id="18" name="矩形标注 17"/>
          <p:cNvSpPr/>
          <p:nvPr/>
        </p:nvSpPr>
        <p:spPr>
          <a:xfrm>
            <a:off x="8023225" y="6389688"/>
            <a:ext cx="2192338" cy="392112"/>
          </a:xfrm>
          <a:prstGeom prst="wedgeRectCallout">
            <a:avLst>
              <a:gd name="adj1" fmla="val 41258"/>
              <a:gd name="adj2" fmla="val -186150"/>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kumimoji="1" lang="zh-CN" altLang="en-US" sz="2100">
                <a:solidFill>
                  <a:srgbClr val="FFFFFF"/>
                </a:solidFill>
                <a:latin typeface="黑体" pitchFamily="49" charset="-122"/>
                <a:ea typeface="黑体" pitchFamily="49" charset="-122"/>
              </a:rPr>
              <a:t>丝袜奶茶开创者</a:t>
            </a:r>
            <a:endParaRPr kumimoji="1" lang="zh-CN" altLang="en-US" sz="2100">
              <a:solidFill>
                <a:schemeClr val="bg1"/>
              </a:solidFill>
              <a:latin typeface="黑体" pitchFamily="49" charset="-122"/>
              <a:ea typeface="黑体" pitchFamily="49" charset="-122"/>
            </a:endParaRPr>
          </a:p>
        </p:txBody>
      </p:sp>
      <p:sp>
        <p:nvSpPr>
          <p:cNvPr id="16" name="副标题 5"/>
          <p:cNvSpPr txBox="1">
            <a:spLocks/>
          </p:cNvSpPr>
          <p:nvPr/>
        </p:nvSpPr>
        <p:spPr>
          <a:xfrm>
            <a:off x="285750" y="458788"/>
            <a:ext cx="10763250" cy="1047750"/>
          </a:xfrm>
          <a:prstGeom prst="rect">
            <a:avLst/>
          </a:prstGeom>
        </p:spPr>
        <p:txBody>
          <a:bodyPr lIns="121920" tIns="60960" rIns="121920" bIns="60960"/>
          <a:lstStyle/>
          <a:p>
            <a:pPr algn="just">
              <a:lnSpc>
                <a:spcPct val="150000"/>
              </a:lnSpc>
              <a:spcBef>
                <a:spcPct val="20000"/>
              </a:spcBef>
            </a:pPr>
            <a:r>
              <a:rPr lang="en-US" altLang="zh-CN" sz="4200" b="1">
                <a:solidFill>
                  <a:schemeClr val="bg1"/>
                </a:solidFill>
                <a:latin typeface="黑体" pitchFamily="49" charset="-122"/>
                <a:ea typeface="黑体" pitchFamily="49" charset="-122"/>
              </a:rPr>
              <a:t>6.</a:t>
            </a:r>
            <a:r>
              <a:rPr lang="zh-CN" altLang="en-US" sz="4200" b="1">
                <a:solidFill>
                  <a:schemeClr val="bg1"/>
                </a:solidFill>
                <a:latin typeface="黑体" pitchFamily="49" charset="-122"/>
                <a:ea typeface="黑体" pitchFamily="49" charset="-122"/>
              </a:rPr>
              <a:t>开创者</a:t>
            </a:r>
            <a:endParaRPr lang="en-US" altLang="zh-CN" sz="4200" b="1">
              <a:solidFill>
                <a:schemeClr val="bg1"/>
              </a:solidFill>
              <a:latin typeface="黑体" pitchFamily="49" charset="-122"/>
              <a:ea typeface="黑体" pitchFamily="49" charset="-122"/>
            </a:endParaRPr>
          </a:p>
        </p:txBody>
      </p:sp>
      <p:grpSp>
        <p:nvGrpSpPr>
          <p:cNvPr id="113669" name="组 14"/>
          <p:cNvGrpSpPr>
            <a:grpSpLocks/>
          </p:cNvGrpSpPr>
          <p:nvPr/>
        </p:nvGrpSpPr>
        <p:grpSpPr bwMode="auto">
          <a:xfrm>
            <a:off x="414338" y="1989138"/>
            <a:ext cx="3263900" cy="4313237"/>
            <a:chOff x="899592" y="1635646"/>
            <a:chExt cx="2448272" cy="3234653"/>
          </a:xfrm>
        </p:grpSpPr>
        <p:pic>
          <p:nvPicPr>
            <p:cNvPr id="113675" name="图片 18"/>
            <p:cNvPicPr>
              <a:picLocks/>
            </p:cNvPicPr>
            <p:nvPr/>
          </p:nvPicPr>
          <p:blipFill>
            <a:blip r:embed="rId5"/>
            <a:srcRect/>
            <a:stretch>
              <a:fillRect/>
            </a:stretch>
          </p:blipFill>
          <p:spPr bwMode="auto">
            <a:xfrm>
              <a:off x="1007728" y="1762572"/>
              <a:ext cx="2232000" cy="2980800"/>
            </a:xfrm>
            <a:prstGeom prst="rect">
              <a:avLst/>
            </a:prstGeom>
            <a:noFill/>
            <a:ln w="9525">
              <a:noFill/>
              <a:miter lim="800000"/>
              <a:headEnd/>
              <a:tailEnd/>
            </a:ln>
          </p:spPr>
        </p:pic>
        <p:pic>
          <p:nvPicPr>
            <p:cNvPr id="113676" name="图片 19"/>
            <p:cNvPicPr>
              <a:picLocks noChangeAspect="1"/>
            </p:cNvPicPr>
            <p:nvPr/>
          </p:nvPicPr>
          <p:blipFill>
            <a:blip r:embed="rId3"/>
            <a:srcRect/>
            <a:stretch>
              <a:fillRect/>
            </a:stretch>
          </p:blipFill>
          <p:spPr bwMode="auto">
            <a:xfrm>
              <a:off x="899592" y="1635646"/>
              <a:ext cx="2448272" cy="3234653"/>
            </a:xfrm>
            <a:prstGeom prst="rect">
              <a:avLst/>
            </a:prstGeom>
            <a:noFill/>
            <a:ln w="9525">
              <a:noFill/>
              <a:miter lim="800000"/>
              <a:headEnd/>
              <a:tailEnd/>
            </a:ln>
          </p:spPr>
        </p:pic>
      </p:grpSp>
      <p:sp>
        <p:nvSpPr>
          <p:cNvPr id="21" name="矩形标注 20"/>
          <p:cNvSpPr/>
          <p:nvPr/>
        </p:nvSpPr>
        <p:spPr>
          <a:xfrm>
            <a:off x="1254125" y="6403975"/>
            <a:ext cx="2424113" cy="346075"/>
          </a:xfrm>
          <a:prstGeom prst="wedgeRectCallout">
            <a:avLst>
              <a:gd name="adj1" fmla="val -45760"/>
              <a:gd name="adj2" fmla="val -189026"/>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kumimoji="1" lang="en-US" altLang="zh-CN" sz="2100">
                <a:solidFill>
                  <a:srgbClr val="FFFFFF"/>
                </a:solidFill>
                <a:latin typeface="黑体" pitchFamily="49" charset="-122"/>
                <a:ea typeface="黑体" pitchFamily="49" charset="-122"/>
              </a:rPr>
              <a:t>125</a:t>
            </a:r>
            <a:r>
              <a:rPr kumimoji="1" lang="zh-CN" altLang="en-US" sz="2100">
                <a:solidFill>
                  <a:srgbClr val="FFFFFF"/>
                </a:solidFill>
                <a:latin typeface="黑体" pitchFamily="49" charset="-122"/>
                <a:ea typeface="黑体" pitchFamily="49" charset="-122"/>
              </a:rPr>
              <a:t>！汽车发明者</a:t>
            </a:r>
            <a:endParaRPr kumimoji="1" lang="zh-CN" altLang="en-US" sz="2100">
              <a:solidFill>
                <a:schemeClr val="bg1"/>
              </a:solidFill>
              <a:latin typeface="黑体" pitchFamily="49" charset="-122"/>
              <a:ea typeface="黑体" pitchFamily="49" charset="-122"/>
            </a:endParaRPr>
          </a:p>
        </p:txBody>
      </p:sp>
      <p:grpSp>
        <p:nvGrpSpPr>
          <p:cNvPr id="113671" name="组 6"/>
          <p:cNvGrpSpPr>
            <a:grpSpLocks/>
          </p:cNvGrpSpPr>
          <p:nvPr/>
        </p:nvGrpSpPr>
        <p:grpSpPr bwMode="auto">
          <a:xfrm>
            <a:off x="4400550" y="2001838"/>
            <a:ext cx="3263900" cy="4311650"/>
            <a:chOff x="3224934" y="1146036"/>
            <a:chExt cx="2448272" cy="3234653"/>
          </a:xfrm>
        </p:grpSpPr>
        <p:pic>
          <p:nvPicPr>
            <p:cNvPr id="113673" name="图片 22"/>
            <p:cNvPicPr>
              <a:picLocks noChangeAspect="1"/>
            </p:cNvPicPr>
            <p:nvPr/>
          </p:nvPicPr>
          <p:blipFill>
            <a:blip r:embed="rId3"/>
            <a:srcRect/>
            <a:stretch>
              <a:fillRect/>
            </a:stretch>
          </p:blipFill>
          <p:spPr bwMode="auto">
            <a:xfrm>
              <a:off x="3224934" y="1146036"/>
              <a:ext cx="2448272" cy="3234653"/>
            </a:xfrm>
            <a:prstGeom prst="rect">
              <a:avLst/>
            </a:prstGeom>
            <a:noFill/>
            <a:ln w="9525">
              <a:noFill/>
              <a:miter lim="800000"/>
              <a:headEnd/>
              <a:tailEnd/>
            </a:ln>
          </p:spPr>
        </p:pic>
        <p:pic>
          <p:nvPicPr>
            <p:cNvPr id="113674" name="图片 5"/>
            <p:cNvPicPr>
              <a:picLocks/>
            </p:cNvPicPr>
            <p:nvPr/>
          </p:nvPicPr>
          <p:blipFill>
            <a:blip r:embed="rId6"/>
            <a:srcRect/>
            <a:stretch>
              <a:fillRect/>
            </a:stretch>
          </p:blipFill>
          <p:spPr bwMode="auto">
            <a:xfrm>
              <a:off x="3360967" y="1287362"/>
              <a:ext cx="2196000" cy="2952000"/>
            </a:xfrm>
            <a:prstGeom prst="rect">
              <a:avLst/>
            </a:prstGeom>
            <a:noFill/>
            <a:ln w="9525">
              <a:noFill/>
              <a:miter lim="800000"/>
              <a:headEnd/>
              <a:tailEnd/>
            </a:ln>
          </p:spPr>
        </p:pic>
      </p:grpSp>
      <p:sp>
        <p:nvSpPr>
          <p:cNvPr id="25" name="矩形标注 24"/>
          <p:cNvSpPr/>
          <p:nvPr/>
        </p:nvSpPr>
        <p:spPr>
          <a:xfrm>
            <a:off x="3881438" y="6389688"/>
            <a:ext cx="2422525" cy="344487"/>
          </a:xfrm>
          <a:prstGeom prst="wedgeRectCallout">
            <a:avLst>
              <a:gd name="adj1" fmla="val 753"/>
              <a:gd name="adj2" fmla="val -185225"/>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kumimoji="1" lang="zh-CN" altLang="en-US" sz="2100">
                <a:solidFill>
                  <a:srgbClr val="FFFFFF"/>
                </a:solidFill>
                <a:latin typeface="黑体" pitchFamily="49" charset="-122"/>
                <a:ea typeface="黑体" pitchFamily="49" charset="-122"/>
              </a:rPr>
              <a:t>豆浆机开创者</a:t>
            </a:r>
            <a:endParaRPr kumimoji="1" lang="zh-CN" altLang="en-US" sz="2100">
              <a:solidFill>
                <a:schemeClr val="bg1"/>
              </a:solidFill>
              <a:latin typeface="黑体" pitchFamily="49" charset="-122"/>
              <a:ea typeface="黑体" pitchFamily="49" charset="-122"/>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6B679457-23CE-4EBE-A86A-4A4216990BAD}" type="slidenum">
              <a:rPr lang="zh-CN" altLang="en-US"/>
              <a:pPr defTabSz="912813" fontAlgn="base">
                <a:spcBef>
                  <a:spcPct val="0"/>
                </a:spcBef>
                <a:spcAft>
                  <a:spcPct val="0"/>
                </a:spcAft>
              </a:pPr>
              <a:t>53</a:t>
            </a:fld>
            <a:endParaRPr lang="en-US" altLang="zh-CN"/>
          </a:p>
        </p:txBody>
      </p:sp>
      <p:sp>
        <p:nvSpPr>
          <p:cNvPr id="115714" name="文本框 2"/>
          <p:cNvSpPr txBox="1">
            <a:spLocks noChangeArrowheads="1"/>
          </p:cNvSpPr>
          <p:nvPr/>
        </p:nvSpPr>
        <p:spPr bwMode="auto">
          <a:xfrm>
            <a:off x="765175" y="3713163"/>
            <a:ext cx="10561638" cy="2862262"/>
          </a:xfrm>
          <a:prstGeom prst="rect">
            <a:avLst/>
          </a:prstGeom>
          <a:noFill/>
          <a:ln w="9525">
            <a:noFill/>
            <a:miter lim="800000"/>
            <a:headEnd/>
            <a:tailEnd/>
          </a:ln>
        </p:spPr>
        <p:txBody>
          <a:bodyPr>
            <a:spAutoFit/>
          </a:bodyPr>
          <a:lstStyle/>
          <a:p>
            <a:pPr>
              <a:lnSpc>
                <a:spcPct val="150000"/>
              </a:lnSpc>
            </a:pPr>
            <a:r>
              <a:rPr lang="zh-CN" altLang="en-US" sz="2400">
                <a:latin typeface="黑体" pitchFamily="49" charset="-122"/>
                <a:ea typeface="黑体" pitchFamily="49" charset="-122"/>
              </a:rPr>
              <a:t>    </a:t>
            </a:r>
            <a:r>
              <a:rPr lang="zh-CN" altLang="zh-CN" sz="2400">
                <a:latin typeface="黑体" pitchFamily="49" charset="-122"/>
                <a:ea typeface="黑体" pitchFamily="49" charset="-122"/>
              </a:rPr>
              <a:t>大</a:t>
            </a:r>
            <a:r>
              <a:rPr lang="zh-CN" altLang="en-US" sz="2400">
                <a:latin typeface="黑体" pitchFamily="49" charset="-122"/>
                <a:ea typeface="黑体" pitchFamily="49" charset="-122"/>
              </a:rPr>
              <a:t>部分</a:t>
            </a:r>
            <a:r>
              <a:rPr lang="zh-CN" altLang="zh-CN" sz="2400">
                <a:latin typeface="黑体" pitchFamily="49" charset="-122"/>
                <a:ea typeface="黑体" pitchFamily="49" charset="-122"/>
              </a:rPr>
              <a:t>产品</a:t>
            </a:r>
            <a:r>
              <a:rPr lang="zh-CN" altLang="en-US" sz="2400">
                <a:latin typeface="黑体" pitchFamily="49" charset="-122"/>
                <a:ea typeface="黑体" pitchFamily="49" charset="-122"/>
              </a:rPr>
              <a:t>或服务带</a:t>
            </a:r>
            <a:r>
              <a:rPr lang="zh-CN" altLang="zh-CN" sz="2400">
                <a:latin typeface="黑体" pitchFamily="49" charset="-122"/>
                <a:ea typeface="黑体" pitchFamily="49" charset="-122"/>
              </a:rPr>
              <a:t>给人</a:t>
            </a:r>
            <a:r>
              <a:rPr lang="zh-CN" altLang="en-US" sz="2400">
                <a:latin typeface="黑体" pitchFamily="49" charset="-122"/>
                <a:ea typeface="黑体" pitchFamily="49" charset="-122"/>
              </a:rPr>
              <a:t>们的</a:t>
            </a:r>
            <a:r>
              <a:rPr lang="zh-CN" altLang="zh-CN" sz="2400">
                <a:latin typeface="黑体" pitchFamily="49" charset="-122"/>
                <a:ea typeface="黑体" pitchFamily="49" charset="-122"/>
              </a:rPr>
              <a:t>好处</a:t>
            </a:r>
            <a:r>
              <a:rPr lang="zh-CN" altLang="en-US" sz="2400">
                <a:latin typeface="黑体" pitchFamily="49" charset="-122"/>
                <a:ea typeface="黑体" pitchFamily="49" charset="-122"/>
              </a:rPr>
              <a:t>相差不大，而</a:t>
            </a:r>
            <a:r>
              <a:rPr lang="zh-CN" altLang="zh-CN" sz="2400">
                <a:latin typeface="黑体" pitchFamily="49" charset="-122"/>
                <a:ea typeface="黑体" pitchFamily="49" charset="-122"/>
              </a:rPr>
              <a:t>制造方法</a:t>
            </a:r>
            <a:r>
              <a:rPr lang="zh-CN" altLang="en-US" sz="2400">
                <a:latin typeface="黑体" pitchFamily="49" charset="-122"/>
                <a:ea typeface="黑体" pitchFamily="49" charset="-122"/>
              </a:rPr>
              <a:t>却</a:t>
            </a:r>
            <a:r>
              <a:rPr lang="zh-CN" altLang="zh-CN" sz="2400">
                <a:latin typeface="黑体" pitchFamily="49" charset="-122"/>
                <a:ea typeface="黑体" pitchFamily="49" charset="-122"/>
              </a:rPr>
              <a:t>往往让</a:t>
            </a:r>
            <a:r>
              <a:rPr lang="zh-CN" altLang="en-US" sz="2400">
                <a:latin typeface="黑体" pitchFamily="49" charset="-122"/>
                <a:ea typeface="黑体" pitchFamily="49" charset="-122"/>
              </a:rPr>
              <a:t>品牌</a:t>
            </a:r>
            <a:r>
              <a:rPr lang="zh-CN" altLang="zh-CN" sz="2400">
                <a:latin typeface="黑体" pitchFamily="49" charset="-122"/>
                <a:ea typeface="黑体" pitchFamily="49" charset="-122"/>
              </a:rPr>
              <a:t>与众不同。</a:t>
            </a:r>
            <a:endParaRPr lang="en-US" altLang="zh-CN" sz="2400">
              <a:latin typeface="黑体" pitchFamily="49" charset="-122"/>
              <a:ea typeface="黑体" pitchFamily="49" charset="-122"/>
            </a:endParaRPr>
          </a:p>
          <a:p>
            <a:pPr>
              <a:lnSpc>
                <a:spcPct val="150000"/>
              </a:lnSpc>
            </a:pPr>
            <a:r>
              <a:rPr lang="zh-CN" altLang="en-US" sz="2400">
                <a:latin typeface="黑体" pitchFamily="49" charset="-122"/>
                <a:ea typeface="黑体" pitchFamily="49" charset="-122"/>
              </a:rPr>
              <a:t>    制造过程中使用的工艺流程（如祖传秘方）、优质原料、特殊部件等都可选作信任状，容易让消费者相信你的品牌更好。</a:t>
            </a:r>
            <a:endParaRPr lang="en-US" altLang="zh-CN" sz="2400">
              <a:latin typeface="黑体" pitchFamily="49" charset="-122"/>
              <a:ea typeface="黑体" pitchFamily="49" charset="-122"/>
            </a:endParaRPr>
          </a:p>
          <a:p>
            <a:pPr>
              <a:lnSpc>
                <a:spcPct val="150000"/>
              </a:lnSpc>
            </a:pPr>
            <a:endParaRPr lang="en-US" altLang="zh-CN" sz="2400">
              <a:latin typeface="黑体" pitchFamily="49" charset="-122"/>
              <a:ea typeface="黑体" pitchFamily="49" charset="-122"/>
            </a:endParaRPr>
          </a:p>
        </p:txBody>
      </p:sp>
      <p:sp>
        <p:nvSpPr>
          <p:cNvPr id="6" name="文本框 5"/>
          <p:cNvSpPr txBox="1"/>
          <p:nvPr/>
        </p:nvSpPr>
        <p:spPr>
          <a:xfrm>
            <a:off x="4656138" y="2084388"/>
            <a:ext cx="2928937" cy="912812"/>
          </a:xfrm>
          <a:prstGeom prst="rect">
            <a:avLst/>
          </a:prstGeom>
          <a:noFill/>
        </p:spPr>
        <p:txBody>
          <a:bodyPr wrap="none">
            <a:spAutoFit/>
          </a:bodyPr>
          <a:lstStyle/>
          <a:p>
            <a:r>
              <a:rPr lang="zh-CN" altLang="en-US" sz="5300" b="1">
                <a:latin typeface="黑体" pitchFamily="49" charset="-122"/>
                <a:ea typeface="黑体" pitchFamily="49" charset="-122"/>
              </a:rPr>
              <a:t>制造方法</a:t>
            </a:r>
            <a:endParaRPr lang="zh-CN" altLang="zh-CN" sz="5300" b="1">
              <a:latin typeface="黑体" pitchFamily="49" charset="-122"/>
              <a:ea typeface="黑体" pitchFamily="49" charset="-122"/>
            </a:endParaRP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幻灯片编号占位符 3"/>
          <p:cNvSpPr>
            <a:spLocks noGrp="1"/>
          </p:cNvSpPr>
          <p:nvPr>
            <p:ph type="sldNum"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4BA70961-A64E-43D6-91DB-F46539208EC4}" type="slidenum">
              <a:rPr lang="zh-CN" altLang="en-US"/>
              <a:pPr defTabSz="912813" fontAlgn="base">
                <a:spcBef>
                  <a:spcPct val="0"/>
                </a:spcBef>
                <a:spcAft>
                  <a:spcPct val="0"/>
                </a:spcAft>
              </a:pPr>
              <a:t>54</a:t>
            </a:fld>
            <a:endParaRPr lang="en-US" altLang="zh-CN"/>
          </a:p>
        </p:txBody>
      </p:sp>
      <p:grpSp>
        <p:nvGrpSpPr>
          <p:cNvPr id="117762" name="组 5"/>
          <p:cNvGrpSpPr>
            <a:grpSpLocks/>
          </p:cNvGrpSpPr>
          <p:nvPr/>
        </p:nvGrpSpPr>
        <p:grpSpPr bwMode="auto">
          <a:xfrm>
            <a:off x="4413250" y="2051050"/>
            <a:ext cx="3263900" cy="4313238"/>
            <a:chOff x="3059832" y="1491630"/>
            <a:chExt cx="2448272" cy="3234653"/>
          </a:xfrm>
        </p:grpSpPr>
        <p:pic>
          <p:nvPicPr>
            <p:cNvPr id="117771" name="图片 4"/>
            <p:cNvPicPr>
              <a:picLocks noChangeAspect="1"/>
            </p:cNvPicPr>
            <p:nvPr/>
          </p:nvPicPr>
          <p:blipFill>
            <a:blip r:embed="rId3"/>
            <a:srcRect/>
            <a:stretch>
              <a:fillRect/>
            </a:stretch>
          </p:blipFill>
          <p:spPr bwMode="auto">
            <a:xfrm>
              <a:off x="3197572" y="1624619"/>
              <a:ext cx="2235600" cy="2980800"/>
            </a:xfrm>
            <a:prstGeom prst="rect">
              <a:avLst/>
            </a:prstGeom>
            <a:noFill/>
            <a:ln w="9525">
              <a:noFill/>
              <a:miter lim="800000"/>
              <a:headEnd/>
              <a:tailEnd/>
            </a:ln>
          </p:spPr>
        </p:pic>
        <p:pic>
          <p:nvPicPr>
            <p:cNvPr id="117772" name="图片 11"/>
            <p:cNvPicPr>
              <a:picLocks noChangeAspect="1"/>
            </p:cNvPicPr>
            <p:nvPr/>
          </p:nvPicPr>
          <p:blipFill>
            <a:blip r:embed="rId4"/>
            <a:srcRect/>
            <a:stretch>
              <a:fillRect/>
            </a:stretch>
          </p:blipFill>
          <p:spPr bwMode="auto">
            <a:xfrm>
              <a:off x="3059832" y="1491630"/>
              <a:ext cx="2448272" cy="3234653"/>
            </a:xfrm>
            <a:prstGeom prst="rect">
              <a:avLst/>
            </a:prstGeom>
            <a:noFill/>
            <a:ln w="9525">
              <a:noFill/>
              <a:miter lim="800000"/>
              <a:headEnd/>
              <a:tailEnd/>
            </a:ln>
          </p:spPr>
        </p:pic>
      </p:grpSp>
      <p:grpSp>
        <p:nvGrpSpPr>
          <p:cNvPr id="117763" name="组 2"/>
          <p:cNvGrpSpPr>
            <a:grpSpLocks/>
          </p:cNvGrpSpPr>
          <p:nvPr/>
        </p:nvGrpSpPr>
        <p:grpSpPr bwMode="auto">
          <a:xfrm>
            <a:off x="8412163" y="2036763"/>
            <a:ext cx="3265487" cy="4313237"/>
            <a:chOff x="6012160" y="1497337"/>
            <a:chExt cx="2448272" cy="3234653"/>
          </a:xfrm>
        </p:grpSpPr>
        <p:pic>
          <p:nvPicPr>
            <p:cNvPr id="117769" name="图片 8"/>
            <p:cNvPicPr>
              <a:picLocks noChangeAspect="1"/>
            </p:cNvPicPr>
            <p:nvPr/>
          </p:nvPicPr>
          <p:blipFill>
            <a:blip r:embed="rId5"/>
            <a:srcRect/>
            <a:stretch>
              <a:fillRect/>
            </a:stretch>
          </p:blipFill>
          <p:spPr bwMode="auto">
            <a:xfrm>
              <a:off x="6084168" y="1624619"/>
              <a:ext cx="2231049" cy="2980800"/>
            </a:xfrm>
            <a:prstGeom prst="rect">
              <a:avLst/>
            </a:prstGeom>
            <a:noFill/>
            <a:ln w="9525">
              <a:noFill/>
              <a:miter lim="800000"/>
              <a:headEnd/>
              <a:tailEnd/>
            </a:ln>
          </p:spPr>
        </p:pic>
        <p:pic>
          <p:nvPicPr>
            <p:cNvPr id="117770" name="图片 12"/>
            <p:cNvPicPr>
              <a:picLocks noChangeAspect="1"/>
            </p:cNvPicPr>
            <p:nvPr/>
          </p:nvPicPr>
          <p:blipFill>
            <a:blip r:embed="rId4"/>
            <a:srcRect/>
            <a:stretch>
              <a:fillRect/>
            </a:stretch>
          </p:blipFill>
          <p:spPr bwMode="auto">
            <a:xfrm>
              <a:off x="6012160" y="1497337"/>
              <a:ext cx="2448272" cy="3234653"/>
            </a:xfrm>
            <a:prstGeom prst="rect">
              <a:avLst/>
            </a:prstGeom>
            <a:noFill/>
            <a:ln w="9525">
              <a:noFill/>
              <a:miter lim="800000"/>
              <a:headEnd/>
              <a:tailEnd/>
            </a:ln>
          </p:spPr>
        </p:pic>
      </p:grpSp>
      <p:sp>
        <p:nvSpPr>
          <p:cNvPr id="16" name="矩形标注 15"/>
          <p:cNvSpPr/>
          <p:nvPr/>
        </p:nvSpPr>
        <p:spPr>
          <a:xfrm>
            <a:off x="6797675" y="6424613"/>
            <a:ext cx="2366963" cy="365125"/>
          </a:xfrm>
          <a:prstGeom prst="wedgeRectCallout">
            <a:avLst>
              <a:gd name="adj1" fmla="val 60942"/>
              <a:gd name="adj2" fmla="val -222817"/>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kumimoji="1" lang="zh-CN" altLang="en-US" sz="2100">
                <a:solidFill>
                  <a:schemeClr val="bg1"/>
                </a:solidFill>
                <a:latin typeface="黑体" pitchFamily="49" charset="-122"/>
                <a:ea typeface="黑体" pitchFamily="49" charset="-122"/>
              </a:rPr>
              <a:t>采用德国压缩机</a:t>
            </a:r>
          </a:p>
        </p:txBody>
      </p:sp>
      <p:sp>
        <p:nvSpPr>
          <p:cNvPr id="19" name="副标题 5"/>
          <p:cNvSpPr txBox="1">
            <a:spLocks/>
          </p:cNvSpPr>
          <p:nvPr/>
        </p:nvSpPr>
        <p:spPr>
          <a:xfrm>
            <a:off x="285750" y="458788"/>
            <a:ext cx="10763250" cy="1047750"/>
          </a:xfrm>
          <a:prstGeom prst="rect">
            <a:avLst/>
          </a:prstGeom>
        </p:spPr>
        <p:txBody>
          <a:bodyPr lIns="121920" tIns="60960" rIns="121920" bIns="60960"/>
          <a:lstStyle/>
          <a:p>
            <a:pPr algn="just">
              <a:lnSpc>
                <a:spcPct val="150000"/>
              </a:lnSpc>
              <a:spcBef>
                <a:spcPct val="20000"/>
              </a:spcBef>
            </a:pPr>
            <a:r>
              <a:rPr lang="en-US" altLang="zh-CN" sz="4200" b="1">
                <a:solidFill>
                  <a:schemeClr val="bg1"/>
                </a:solidFill>
                <a:latin typeface="黑体" pitchFamily="49" charset="-122"/>
                <a:ea typeface="黑体" pitchFamily="49" charset="-122"/>
              </a:rPr>
              <a:t>7.</a:t>
            </a:r>
            <a:r>
              <a:rPr lang="zh-CN" altLang="en-US" sz="4200" b="1">
                <a:solidFill>
                  <a:schemeClr val="bg1"/>
                </a:solidFill>
                <a:latin typeface="黑体" pitchFamily="49" charset="-122"/>
                <a:ea typeface="黑体" pitchFamily="49" charset="-122"/>
              </a:rPr>
              <a:t>制造方法</a:t>
            </a:r>
            <a:endParaRPr lang="en-US" altLang="zh-CN" sz="4200" b="1">
              <a:solidFill>
                <a:schemeClr val="bg1"/>
              </a:solidFill>
              <a:latin typeface="黑体" pitchFamily="49" charset="-122"/>
              <a:ea typeface="黑体" pitchFamily="49" charset="-122"/>
            </a:endParaRPr>
          </a:p>
        </p:txBody>
      </p:sp>
      <p:grpSp>
        <p:nvGrpSpPr>
          <p:cNvPr id="117766" name="组 14"/>
          <p:cNvGrpSpPr>
            <a:grpSpLocks/>
          </p:cNvGrpSpPr>
          <p:nvPr/>
        </p:nvGrpSpPr>
        <p:grpSpPr bwMode="auto">
          <a:xfrm>
            <a:off x="511175" y="2036763"/>
            <a:ext cx="3263900" cy="4313237"/>
            <a:chOff x="755576" y="1635646"/>
            <a:chExt cx="2448272" cy="3234653"/>
          </a:xfrm>
        </p:grpSpPr>
        <p:pic>
          <p:nvPicPr>
            <p:cNvPr id="17" name="图片 16"/>
            <p:cNvPicPr>
              <a:picLocks noChangeAspect="1" noChangeArrowheads="1"/>
            </p:cNvPicPr>
            <p:nvPr/>
          </p:nvPicPr>
          <p:blipFill>
            <a:blip r:embed="rId6"/>
            <a:srcRect/>
            <a:stretch>
              <a:fillRect/>
            </a:stretch>
          </p:blipFill>
          <p:spPr bwMode="auto">
            <a:xfrm>
              <a:off x="774982" y="1662264"/>
              <a:ext cx="2404872" cy="3218688"/>
            </a:xfrm>
            <a:prstGeom prst="rect">
              <a:avLst/>
            </a:prstGeom>
            <a:noFill/>
          </p:spPr>
        </p:pic>
        <p:pic>
          <p:nvPicPr>
            <p:cNvPr id="117768" name="图片 17"/>
            <p:cNvPicPr>
              <a:picLocks noChangeAspect="1"/>
            </p:cNvPicPr>
            <p:nvPr/>
          </p:nvPicPr>
          <p:blipFill>
            <a:blip r:embed="rId4"/>
            <a:srcRect/>
            <a:stretch>
              <a:fillRect/>
            </a:stretch>
          </p:blipFill>
          <p:spPr bwMode="auto">
            <a:xfrm>
              <a:off x="755576" y="1635646"/>
              <a:ext cx="2448272" cy="3234653"/>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txBox="1">
            <a:spLocks noChangeAspect="1"/>
          </p:cNvSpPr>
          <p:nvPr/>
        </p:nvSpPr>
        <p:spPr bwMode="auto">
          <a:xfrm>
            <a:off x="3048000" y="268288"/>
            <a:ext cx="7302500" cy="646112"/>
          </a:xfrm>
          <a:prstGeom prst="rect">
            <a:avLst/>
          </a:prstGeom>
          <a:noFill/>
          <a:ln>
            <a:noFill/>
          </a:ln>
          <a:extLst>
            <a:ext uri="{909E8E84-426E-40DD-AFC4-6F175D3DCCD1}"/>
            <a:ext uri="{91240B29-F687-4F45-9708-019B960494DF}"/>
          </a:extLst>
        </p:spPr>
        <p:txBody>
          <a:bodyPr lIns="91438" tIns="45719" rIns="91438" bIns="45719" anchor="b">
            <a:spAutoFit/>
          </a:bodyPr>
          <a:lstStyle>
            <a:lvl1pPr eaLnBrk="0" hangingPunct="0">
              <a:lnSpc>
                <a:spcPct val="100000"/>
              </a:lnSpc>
              <a:defRPr kumimoji="1" sz="4000">
                <a:solidFill>
                  <a:schemeClr val="tx2"/>
                </a:solidFill>
                <a:latin typeface="微软雅黑" pitchFamily="34" charset="-122"/>
                <a:ea typeface="微软雅黑" pitchFamily="34" charset="-122"/>
                <a:cs typeface="+mj-cs"/>
              </a:defRPr>
            </a:lvl1pPr>
            <a:lvl2pPr algn="ctr" eaLnBrk="0" hangingPunct="0">
              <a:defRPr kumimoji="1" sz="4400">
                <a:solidFill>
                  <a:schemeClr val="tx2"/>
                </a:solidFill>
                <a:latin typeface="Arial" charset="0"/>
              </a:defRPr>
            </a:lvl2pPr>
            <a:lvl3pPr algn="ctr" eaLnBrk="0" hangingPunct="0">
              <a:defRPr kumimoji="1" sz="4400">
                <a:solidFill>
                  <a:schemeClr val="tx2"/>
                </a:solidFill>
                <a:latin typeface="Arial" charset="0"/>
              </a:defRPr>
            </a:lvl3pPr>
            <a:lvl4pPr algn="ctr" eaLnBrk="0" hangingPunct="0">
              <a:defRPr kumimoji="1" sz="4400">
                <a:solidFill>
                  <a:schemeClr val="tx2"/>
                </a:solidFill>
                <a:latin typeface="Arial" charset="0"/>
              </a:defRPr>
            </a:lvl4pPr>
            <a:lvl5pPr algn="ctr" eaLnBrk="0" hangingPunct="0">
              <a:defRPr kumimoji="1" sz="4400">
                <a:solidFill>
                  <a:schemeClr val="tx2"/>
                </a:solidFill>
                <a:latin typeface="Arial" charset="0"/>
              </a:defRPr>
            </a:lvl5pPr>
            <a:lvl6pPr marL="457200" algn="ctr" eaLnBrk="0" fontAlgn="base" hangingPunct="0">
              <a:spcBef>
                <a:spcPct val="0"/>
              </a:spcBef>
              <a:spcAft>
                <a:spcPct val="0"/>
              </a:spcAft>
              <a:defRPr kumimoji="1" sz="4400">
                <a:solidFill>
                  <a:schemeClr val="tx2"/>
                </a:solidFill>
                <a:latin typeface="Arial" charset="0"/>
              </a:defRPr>
            </a:lvl6pPr>
            <a:lvl7pPr marL="914400" algn="ctr" eaLnBrk="0" fontAlgn="base" hangingPunct="0">
              <a:spcBef>
                <a:spcPct val="0"/>
              </a:spcBef>
              <a:spcAft>
                <a:spcPct val="0"/>
              </a:spcAft>
              <a:defRPr kumimoji="1" sz="4400">
                <a:solidFill>
                  <a:schemeClr val="tx2"/>
                </a:solidFill>
                <a:latin typeface="Arial" charset="0"/>
              </a:defRPr>
            </a:lvl7pPr>
            <a:lvl8pPr marL="1371600" algn="ctr" eaLnBrk="0" fontAlgn="base" hangingPunct="0">
              <a:spcBef>
                <a:spcPct val="0"/>
              </a:spcBef>
              <a:spcAft>
                <a:spcPct val="0"/>
              </a:spcAft>
              <a:defRPr kumimoji="1" sz="4400">
                <a:solidFill>
                  <a:schemeClr val="tx2"/>
                </a:solidFill>
                <a:latin typeface="Arial" charset="0"/>
              </a:defRPr>
            </a:lvl8pPr>
            <a:lvl9pPr marL="1828800" algn="ctr" eaLnBrk="0" fontAlgn="base" hangingPunct="0">
              <a:spcBef>
                <a:spcPct val="0"/>
              </a:spcBef>
              <a:spcAft>
                <a:spcPct val="0"/>
              </a:spcAft>
              <a:defRPr kumimoji="1" sz="4400">
                <a:solidFill>
                  <a:schemeClr val="tx2"/>
                </a:solidFill>
                <a:latin typeface="Arial" charset="0"/>
              </a:defRPr>
            </a:lvl9pPr>
          </a:lstStyle>
          <a:p>
            <a:pPr defTabSz="914377" fontAlgn="auto">
              <a:spcBef>
                <a:spcPts val="0"/>
              </a:spcBef>
              <a:spcAft>
                <a:spcPts val="0"/>
              </a:spcAft>
              <a:defRPr/>
            </a:pPr>
            <a:r>
              <a:rPr lang="zh-CN" altLang="en-US" sz="3600" b="1" dirty="0" smtClean="0">
                <a:effectLst>
                  <a:outerShdw blurRad="50800" dist="38100" dir="8100000" algn="tr" rotWithShape="0">
                    <a:prstClr val="black">
                      <a:alpha val="40000"/>
                    </a:prstClr>
                  </a:outerShdw>
                </a:effectLst>
                <a:latin typeface="+mj-ea"/>
                <a:ea typeface="+mj-ea"/>
              </a:rPr>
              <a:t>总结：企业</a:t>
            </a:r>
            <a:r>
              <a:rPr lang="zh-CN" altLang="en-US" sz="3600" b="1" dirty="0">
                <a:effectLst>
                  <a:outerShdw blurRad="50800" dist="38100" dir="8100000" algn="tr" rotWithShape="0">
                    <a:prstClr val="black">
                      <a:alpha val="40000"/>
                    </a:prstClr>
                  </a:outerShdw>
                </a:effectLst>
                <a:latin typeface="+mj-ea"/>
                <a:ea typeface="+mj-ea"/>
              </a:rPr>
              <a:t>的指数级增长</a:t>
            </a:r>
          </a:p>
        </p:txBody>
      </p:sp>
      <p:sp>
        <p:nvSpPr>
          <p:cNvPr id="119810" name="内容占位符 2"/>
          <p:cNvSpPr>
            <a:spLocks noGrp="1"/>
          </p:cNvSpPr>
          <p:nvPr>
            <p:ph idx="1"/>
          </p:nvPr>
        </p:nvSpPr>
        <p:spPr bwMode="auto">
          <a:xfrm>
            <a:off x="1582738" y="933450"/>
            <a:ext cx="7977187" cy="5375275"/>
          </a:xfrm>
          <a:noFill/>
          <a:ln>
            <a:miter lim="800000"/>
            <a:headEnd/>
            <a:tailEnd/>
          </a:ln>
        </p:spPr>
        <p:txBody>
          <a:bodyPr wrap="square" numCol="1" anchor="t" anchorCtr="0" compatLnSpc="1">
            <a:prstTxWarp prst="textNoShape">
              <a:avLst/>
            </a:prstTxWarp>
            <a:spAutoFit/>
          </a:bodyPr>
          <a:lstStyle/>
          <a:p>
            <a:pPr algn="ctr">
              <a:lnSpc>
                <a:spcPct val="200000"/>
              </a:lnSpc>
              <a:buFont typeface="Wingdings" pitchFamily="2" charset="2"/>
              <a:buChar char="u"/>
            </a:pPr>
            <a:r>
              <a:rPr lang="zh-CN" altLang="en-US" sz="3100" b="1" smtClean="0"/>
              <a:t>找到差异定位</a:t>
            </a:r>
            <a:endParaRPr lang="en-US" altLang="zh-CN" sz="3100" b="1" smtClean="0"/>
          </a:p>
          <a:p>
            <a:pPr algn="ctr">
              <a:lnSpc>
                <a:spcPct val="200000"/>
              </a:lnSpc>
              <a:buFont typeface="Wingdings" pitchFamily="2" charset="2"/>
              <a:buChar char="u"/>
            </a:pPr>
            <a:r>
              <a:rPr lang="zh-CN" altLang="en-US" sz="3100" b="1" smtClean="0"/>
              <a:t> 抓住时间窗口</a:t>
            </a:r>
            <a:endParaRPr lang="en-US" altLang="zh-CN" sz="3100" b="1" smtClean="0"/>
          </a:p>
          <a:p>
            <a:pPr algn="ctr">
              <a:lnSpc>
                <a:spcPct val="200000"/>
              </a:lnSpc>
              <a:buFont typeface="Wingdings" pitchFamily="2" charset="2"/>
              <a:buChar char="u"/>
            </a:pPr>
            <a:r>
              <a:rPr lang="zh-CN" altLang="en-US" sz="3100" b="1" smtClean="0"/>
              <a:t> 采取饱和攻击</a:t>
            </a:r>
            <a:endParaRPr lang="en-US" altLang="zh-CN" sz="3100" b="1" smtClean="0"/>
          </a:p>
          <a:p>
            <a:pPr algn="ctr">
              <a:lnSpc>
                <a:spcPct val="200000"/>
              </a:lnSpc>
              <a:buFont typeface="Wingdings" pitchFamily="2" charset="2"/>
              <a:buChar char="u"/>
            </a:pPr>
            <a:r>
              <a:rPr lang="zh-CN" altLang="en-US" sz="3100" b="1" smtClean="0"/>
              <a:t> 占据心智优势</a:t>
            </a:r>
            <a:endParaRPr lang="en-US" altLang="zh-CN" sz="3100" b="1" smtClean="0"/>
          </a:p>
          <a:p>
            <a:pPr algn="ctr">
              <a:lnSpc>
                <a:spcPct val="200000"/>
              </a:lnSpc>
              <a:buFont typeface="Wingdings" pitchFamily="2" charset="2"/>
              <a:buChar char="u"/>
            </a:pPr>
            <a:r>
              <a:rPr lang="en-US" altLang="zh-CN" sz="3100" b="1" smtClean="0"/>
              <a:t> </a:t>
            </a:r>
            <a:r>
              <a:rPr lang="zh-CN" altLang="en-US" sz="3100" b="1" smtClean="0"/>
              <a:t>引爆主流人群</a:t>
            </a:r>
            <a:endParaRPr lang="en-US" altLang="zh-CN" sz="3100" b="1" smtClean="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Footer Placeholder 7"/>
          <p:cNvSpPr>
            <a:spLocks noGrp="1"/>
          </p:cNvSpPr>
          <p:nvPr>
            <p:ph type="ftr" sz="quarter" idx="4294967295"/>
          </p:nvPr>
        </p:nvSpPr>
        <p:spPr bwMode="auto">
          <a:xfrm>
            <a:off x="7321550" y="6438900"/>
            <a:ext cx="4822825" cy="365125"/>
          </a:xfrm>
          <a:prstGeom prst="rect">
            <a:avLst/>
          </a:prstGeom>
          <a:noFill/>
          <a:ln>
            <a:miter lim="800000"/>
            <a:headEnd/>
            <a:tailEnd/>
          </a:ln>
        </p:spPr>
        <p:txBody>
          <a:bodyPr/>
          <a:lstStyle/>
          <a:p>
            <a:pPr algn="r"/>
            <a:endParaRPr lang="en-US" altLang="zh-CN" sz="1400">
              <a:solidFill>
                <a:srgbClr val="FFFFFF"/>
              </a:solidFill>
              <a:latin typeface="华文隶书"/>
              <a:ea typeface="华文隶书"/>
              <a:cs typeface="华文隶书"/>
            </a:endParaRPr>
          </a:p>
        </p:txBody>
      </p:sp>
      <p:sp>
        <p:nvSpPr>
          <p:cNvPr id="120834" name="矩形 1"/>
          <p:cNvSpPr>
            <a:spLocks noChangeArrowheads="1"/>
          </p:cNvSpPr>
          <p:nvPr/>
        </p:nvSpPr>
        <p:spPr bwMode="auto">
          <a:xfrm>
            <a:off x="1296988" y="1016000"/>
            <a:ext cx="11022012" cy="3786188"/>
          </a:xfrm>
          <a:prstGeom prst="rect">
            <a:avLst/>
          </a:prstGeom>
          <a:noFill/>
          <a:ln w="9525">
            <a:noFill/>
            <a:miter lim="800000"/>
            <a:headEnd/>
            <a:tailEnd/>
          </a:ln>
        </p:spPr>
        <p:txBody>
          <a:bodyPr>
            <a:spAutoFit/>
          </a:bodyPr>
          <a:lstStyle/>
          <a:p>
            <a:pPr>
              <a:lnSpc>
                <a:spcPct val="200000"/>
              </a:lnSpc>
            </a:pPr>
            <a:r>
              <a:rPr lang="zh-CN" altLang="en-US" sz="4000" b="1">
                <a:solidFill>
                  <a:srgbClr val="FF0000"/>
                </a:solidFill>
                <a:latin typeface="Calibri Light"/>
                <a:ea typeface="微软雅黑" pitchFamily="34" charset="-122"/>
              </a:rPr>
              <a:t>德鲁克：企业的二个并且只有二个基本功能：</a:t>
            </a:r>
            <a:endParaRPr lang="en-US" altLang="zh-CN" sz="4000" b="1">
              <a:solidFill>
                <a:srgbClr val="FF0000"/>
              </a:solidFill>
              <a:latin typeface="Calibri Light"/>
              <a:ea typeface="微软雅黑" pitchFamily="34" charset="-122"/>
            </a:endParaRPr>
          </a:p>
          <a:p>
            <a:pPr>
              <a:lnSpc>
                <a:spcPct val="200000"/>
              </a:lnSpc>
            </a:pPr>
            <a:r>
              <a:rPr lang="zh-CN" altLang="en-US" sz="4000" b="1">
                <a:solidFill>
                  <a:srgbClr val="FF0000"/>
                </a:solidFill>
                <a:latin typeface="Calibri Light"/>
                <a:ea typeface="微软雅黑" pitchFamily="34" charset="-122"/>
              </a:rPr>
              <a:t>创新（创造差异化的产品与服务）</a:t>
            </a:r>
            <a:endParaRPr lang="en-US" altLang="zh-CN" sz="4000" b="1">
              <a:solidFill>
                <a:srgbClr val="FF0000"/>
              </a:solidFill>
              <a:latin typeface="Calibri Light"/>
              <a:ea typeface="微软雅黑" pitchFamily="34" charset="-122"/>
            </a:endParaRPr>
          </a:p>
          <a:p>
            <a:pPr>
              <a:lnSpc>
                <a:spcPct val="200000"/>
              </a:lnSpc>
            </a:pPr>
            <a:r>
              <a:rPr lang="zh-CN" altLang="en-US" sz="4000" b="1">
                <a:solidFill>
                  <a:srgbClr val="FF0000"/>
                </a:solidFill>
                <a:latin typeface="Calibri Light"/>
                <a:ea typeface="微软雅黑" pitchFamily="34" charset="-122"/>
              </a:rPr>
              <a:t>市场营销（成为顾客心里的首选品牌）</a:t>
            </a: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矩形 1"/>
          <p:cNvSpPr>
            <a:spLocks noChangeArrowheads="1"/>
          </p:cNvSpPr>
          <p:nvPr/>
        </p:nvSpPr>
        <p:spPr bwMode="auto">
          <a:xfrm>
            <a:off x="947738" y="792163"/>
            <a:ext cx="10309225" cy="5632450"/>
          </a:xfrm>
          <a:prstGeom prst="rect">
            <a:avLst/>
          </a:prstGeom>
          <a:noFill/>
          <a:ln w="9525">
            <a:noFill/>
            <a:miter lim="800000"/>
            <a:headEnd/>
            <a:tailEnd/>
          </a:ln>
        </p:spPr>
        <p:txBody>
          <a:bodyPr>
            <a:spAutoFit/>
          </a:bodyPr>
          <a:lstStyle/>
          <a:p>
            <a:pPr>
              <a:lnSpc>
                <a:spcPct val="150000"/>
              </a:lnSpc>
            </a:pPr>
            <a:r>
              <a:rPr lang="zh-CN" altLang="en-US" sz="4000" b="1">
                <a:solidFill>
                  <a:srgbClr val="FF0000"/>
                </a:solidFill>
                <a:latin typeface="Calibri Light"/>
                <a:ea typeface="微软雅黑" pitchFamily="34" charset="-122"/>
              </a:rPr>
              <a:t>时间窗口期没有抢占心智，</a:t>
            </a:r>
            <a:endParaRPr lang="en-US" altLang="zh-CN" sz="4000" b="1">
              <a:solidFill>
                <a:srgbClr val="FF0000"/>
              </a:solidFill>
              <a:latin typeface="Calibri Light"/>
              <a:ea typeface="微软雅黑" pitchFamily="34" charset="-122"/>
            </a:endParaRPr>
          </a:p>
          <a:p>
            <a:pPr>
              <a:lnSpc>
                <a:spcPct val="150000"/>
              </a:lnSpc>
            </a:pPr>
            <a:r>
              <a:rPr lang="zh-CN" altLang="en-US" sz="4000" b="1">
                <a:solidFill>
                  <a:srgbClr val="FF0000"/>
                </a:solidFill>
                <a:latin typeface="Calibri Light"/>
                <a:ea typeface="微软雅黑" pitchFamily="34" charset="-122"/>
              </a:rPr>
              <a:t>这是在裸奔。</a:t>
            </a:r>
            <a:endParaRPr lang="en-US" altLang="zh-CN" sz="4000" b="1">
              <a:solidFill>
                <a:srgbClr val="FF0000"/>
              </a:solidFill>
              <a:latin typeface="Calibri Light"/>
              <a:ea typeface="微软雅黑" pitchFamily="34" charset="-122"/>
            </a:endParaRPr>
          </a:p>
          <a:p>
            <a:pPr>
              <a:lnSpc>
                <a:spcPct val="200000"/>
              </a:lnSpc>
            </a:pPr>
            <a:r>
              <a:rPr lang="zh-CN" altLang="en-US" sz="2800">
                <a:latin typeface="Calibri Light"/>
                <a:ea typeface="微软雅黑" pitchFamily="34" charset="-122"/>
              </a:rPr>
              <a:t>必须最快时间封杀品类或特性，没有封杀前时间窗口是存在的，必须把那个词占据掉，一旦占据时间窗口就关掉了。</a:t>
            </a:r>
            <a:endParaRPr lang="en-US" altLang="zh-CN" sz="2800">
              <a:latin typeface="Calibri Light"/>
              <a:ea typeface="微软雅黑" pitchFamily="34" charset="-122"/>
            </a:endParaRPr>
          </a:p>
          <a:p>
            <a:pPr>
              <a:lnSpc>
                <a:spcPct val="200000"/>
              </a:lnSpc>
            </a:pPr>
            <a:r>
              <a:rPr lang="zh-CN" altLang="en-US" sz="3200" b="1">
                <a:latin typeface="Calibri Light"/>
                <a:ea typeface="微软雅黑" pitchFamily="34" charset="-122"/>
              </a:rPr>
              <a:t>抢占心智中品类的第一，一旦先入为主，</a:t>
            </a:r>
            <a:endParaRPr lang="en-US" altLang="zh-CN" sz="3200" b="1">
              <a:latin typeface="Calibri Light"/>
              <a:ea typeface="微软雅黑" pitchFamily="34" charset="-122"/>
            </a:endParaRPr>
          </a:p>
          <a:p>
            <a:pPr>
              <a:lnSpc>
                <a:spcPct val="200000"/>
              </a:lnSpc>
            </a:pPr>
            <a:r>
              <a:rPr lang="zh-CN" altLang="en-US" sz="3200" b="1">
                <a:latin typeface="Calibri Light"/>
                <a:ea typeface="微软雅黑" pitchFamily="34" charset="-122"/>
              </a:rPr>
              <a:t>你就关闭了其它对手的入脑之门。</a:t>
            </a: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矩形 1"/>
          <p:cNvSpPr>
            <a:spLocks noChangeArrowheads="1"/>
          </p:cNvSpPr>
          <p:nvPr/>
        </p:nvSpPr>
        <p:spPr bwMode="auto">
          <a:xfrm>
            <a:off x="911225" y="657225"/>
            <a:ext cx="10717213" cy="7246938"/>
          </a:xfrm>
          <a:prstGeom prst="rect">
            <a:avLst/>
          </a:prstGeom>
          <a:noFill/>
          <a:ln w="9525">
            <a:noFill/>
            <a:miter lim="800000"/>
            <a:headEnd/>
            <a:tailEnd/>
          </a:ln>
        </p:spPr>
        <p:txBody>
          <a:bodyPr>
            <a:spAutoFit/>
          </a:bodyPr>
          <a:lstStyle/>
          <a:p>
            <a:r>
              <a:rPr lang="zh-CN" altLang="en-US" sz="4000" b="1">
                <a:solidFill>
                  <a:srgbClr val="FF0000"/>
                </a:solidFill>
                <a:latin typeface="Calibri Light"/>
                <a:ea typeface="微软雅黑" pitchFamily="34" charset="-122"/>
              </a:rPr>
              <a:t>抢占心智，才能压制竞争对手。</a:t>
            </a:r>
            <a:endParaRPr lang="en-US" altLang="zh-CN" sz="4000" b="1">
              <a:solidFill>
                <a:srgbClr val="FF0000"/>
              </a:solidFill>
              <a:latin typeface="Calibri Light"/>
              <a:ea typeface="微软雅黑" pitchFamily="34" charset="-122"/>
            </a:endParaRPr>
          </a:p>
          <a:p>
            <a:endParaRPr lang="en-US" altLang="zh-CN" sz="4000" b="1">
              <a:solidFill>
                <a:srgbClr val="FF0000"/>
              </a:solidFill>
              <a:latin typeface="Calibri Light"/>
              <a:ea typeface="微软雅黑" pitchFamily="34" charset="-122"/>
            </a:endParaRPr>
          </a:p>
          <a:p>
            <a:pPr>
              <a:lnSpc>
                <a:spcPct val="250000"/>
              </a:lnSpc>
            </a:pPr>
            <a:r>
              <a:rPr lang="zh-CN" altLang="en-US" b="1">
                <a:latin typeface="Calibri Light"/>
                <a:ea typeface="微软雅黑" pitchFamily="34" charset="-122"/>
              </a:rPr>
              <a:t>率先抢占用户心智，阻遏同质化对手进入的可能，</a:t>
            </a:r>
            <a:endParaRPr lang="en-US" altLang="zh-CN" b="1">
              <a:latin typeface="Calibri Light"/>
              <a:ea typeface="微软雅黑" pitchFamily="34" charset="-122"/>
            </a:endParaRPr>
          </a:p>
          <a:p>
            <a:pPr>
              <a:lnSpc>
                <a:spcPct val="250000"/>
              </a:lnSpc>
            </a:pPr>
            <a:r>
              <a:rPr lang="zh-CN" altLang="en-US" b="1">
                <a:latin typeface="Calibri Light"/>
                <a:ea typeface="微软雅黑" pitchFamily="34" charset="-122"/>
              </a:rPr>
              <a:t>一旦抢占了心智，竞争对手跟进模仿产品也去打广告，</a:t>
            </a:r>
            <a:endParaRPr lang="en-US" altLang="zh-CN" b="1">
              <a:latin typeface="Calibri Light"/>
              <a:ea typeface="微软雅黑" pitchFamily="34" charset="-122"/>
            </a:endParaRPr>
          </a:p>
          <a:p>
            <a:pPr>
              <a:lnSpc>
                <a:spcPct val="250000"/>
              </a:lnSpc>
            </a:pPr>
            <a:r>
              <a:rPr lang="zh-CN" altLang="en-US" sz="2800" b="1">
                <a:latin typeface="Calibri Light"/>
                <a:ea typeface="微软雅黑" pitchFamily="34" charset="-122"/>
              </a:rPr>
              <a:t>如果心智位置已被你先入为主，对手的投放实际是为你投放</a:t>
            </a:r>
            <a:endParaRPr lang="en-US" altLang="zh-CN" sz="2800" b="1">
              <a:latin typeface="Calibri Light"/>
              <a:ea typeface="微软雅黑" pitchFamily="34" charset="-122"/>
            </a:endParaRPr>
          </a:p>
          <a:p>
            <a:pPr>
              <a:lnSpc>
                <a:spcPct val="250000"/>
              </a:lnSpc>
            </a:pPr>
            <a:r>
              <a:rPr lang="zh-CN" altLang="en-US" b="1">
                <a:latin typeface="Calibri Light"/>
                <a:ea typeface="微软雅黑" pitchFamily="34" charset="-122"/>
              </a:rPr>
              <a:t>飞鹤先做更适合中国宝宝体质抢占心智，伊利跟进为中国宝宝而生，飞鹤这几年迅速超过伊利成国产第一。</a:t>
            </a:r>
            <a:endParaRPr lang="en-US" altLang="zh-CN" b="1">
              <a:latin typeface="Calibri Light"/>
              <a:ea typeface="微软雅黑" pitchFamily="34" charset="-122"/>
            </a:endParaRPr>
          </a:p>
          <a:p>
            <a:pPr>
              <a:lnSpc>
                <a:spcPct val="250000"/>
              </a:lnSpc>
            </a:pPr>
            <a:r>
              <a:rPr lang="zh-CN" altLang="en-US" b="1">
                <a:latin typeface="Calibri Light"/>
                <a:ea typeface="微软雅黑" pitchFamily="34" charset="-122"/>
              </a:rPr>
              <a:t>市场竞争中如果对手先发动广告战先抢占顾客心智，你就被压制，因为消费者心智一旦先入为主很难改变。</a:t>
            </a:r>
          </a:p>
          <a:p>
            <a:pPr>
              <a:lnSpc>
                <a:spcPct val="250000"/>
              </a:lnSpc>
            </a:pPr>
            <a:endParaRPr lang="en-US" altLang="zh-CN" b="1">
              <a:latin typeface="Calibri Light"/>
              <a:ea typeface="微软雅黑" pitchFamily="34" charset="-122"/>
            </a:endParaRPr>
          </a:p>
          <a:p>
            <a:pPr>
              <a:lnSpc>
                <a:spcPct val="250000"/>
              </a:lnSpc>
            </a:pPr>
            <a:endParaRPr lang="en-US" altLang="zh-CN" b="1">
              <a:latin typeface="Calibri Light"/>
              <a:ea typeface="微软雅黑" pitchFamily="34" charset="-122"/>
            </a:endParaRPr>
          </a:p>
          <a:p>
            <a:pPr>
              <a:lnSpc>
                <a:spcPct val="250000"/>
              </a:lnSpc>
            </a:pPr>
            <a:r>
              <a:rPr lang="zh-CN" altLang="en-US" b="1">
                <a:latin typeface="Calibri Light"/>
                <a:ea typeface="微软雅黑" pitchFamily="34" charset="-122"/>
              </a:rPr>
              <a:t>。</a:t>
            </a: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矩形 1"/>
          <p:cNvSpPr>
            <a:spLocks noChangeArrowheads="1"/>
          </p:cNvSpPr>
          <p:nvPr/>
        </p:nvSpPr>
        <p:spPr bwMode="auto">
          <a:xfrm>
            <a:off x="1454150" y="781050"/>
            <a:ext cx="9544050" cy="4554538"/>
          </a:xfrm>
          <a:prstGeom prst="rect">
            <a:avLst/>
          </a:prstGeom>
          <a:noFill/>
          <a:ln w="9525">
            <a:noFill/>
            <a:miter lim="800000"/>
            <a:headEnd/>
            <a:tailEnd/>
          </a:ln>
        </p:spPr>
        <p:txBody>
          <a:bodyPr>
            <a:spAutoFit/>
          </a:bodyPr>
          <a:lstStyle/>
          <a:p>
            <a:r>
              <a:rPr lang="zh-CN" altLang="en-US" sz="4000" b="1">
                <a:solidFill>
                  <a:srgbClr val="FF0000"/>
                </a:solidFill>
                <a:latin typeface="Calibri Light"/>
                <a:ea typeface="微软雅黑" pitchFamily="34" charset="-122"/>
              </a:rPr>
              <a:t>为什么要饱和攻击？</a:t>
            </a:r>
            <a:endParaRPr lang="en-US" altLang="zh-CN" sz="4000" b="1">
              <a:solidFill>
                <a:srgbClr val="FF0000"/>
              </a:solidFill>
              <a:latin typeface="Calibri Light"/>
              <a:ea typeface="微软雅黑" pitchFamily="34" charset="-122"/>
            </a:endParaRPr>
          </a:p>
          <a:p>
            <a:endParaRPr lang="en-US" altLang="zh-CN" sz="4000" b="1">
              <a:solidFill>
                <a:srgbClr val="FF0000"/>
              </a:solidFill>
              <a:latin typeface="Calibri Light"/>
              <a:ea typeface="微软雅黑" pitchFamily="34" charset="-122"/>
            </a:endParaRPr>
          </a:p>
          <a:p>
            <a:pPr>
              <a:lnSpc>
                <a:spcPct val="150000"/>
              </a:lnSpc>
            </a:pPr>
            <a:r>
              <a:rPr lang="zh-CN" altLang="en-US" sz="2800">
                <a:latin typeface="Calibri Light"/>
                <a:ea typeface="微软雅黑" pitchFamily="34" charset="-122"/>
              </a:rPr>
              <a:t>因为</a:t>
            </a:r>
            <a:r>
              <a:rPr lang="en-US" altLang="zh-CN" sz="2800">
                <a:latin typeface="Calibri Light"/>
                <a:ea typeface="微软雅黑" pitchFamily="34" charset="-122"/>
              </a:rPr>
              <a:t>【</a:t>
            </a:r>
            <a:r>
              <a:rPr lang="zh-CN" altLang="en-US" sz="2800">
                <a:latin typeface="Calibri Light"/>
                <a:ea typeface="微软雅黑" pitchFamily="34" charset="-122"/>
              </a:rPr>
              <a:t>一小跳比一大跳容易得多，但没有人在跳过壕沟时想要跳一半。你的出击不仅要猛而且要快，好概念很快被抢多</a:t>
            </a:r>
            <a:endParaRPr lang="en-US" altLang="zh-CN" sz="2800">
              <a:latin typeface="Calibri Light"/>
              <a:ea typeface="微软雅黑" pitchFamily="34" charset="-122"/>
            </a:endParaRPr>
          </a:p>
          <a:p>
            <a:pPr>
              <a:lnSpc>
                <a:spcPct val="150000"/>
              </a:lnSpc>
            </a:pPr>
            <a:endParaRPr lang="en-US" altLang="zh-CN" sz="2800">
              <a:latin typeface="Calibri Light"/>
              <a:ea typeface="微软雅黑" pitchFamily="34" charset="-122"/>
            </a:endParaRPr>
          </a:p>
          <a:p>
            <a:pPr>
              <a:lnSpc>
                <a:spcPct val="150000"/>
              </a:lnSpc>
            </a:pPr>
            <a:r>
              <a:rPr lang="en-US" altLang="zh-CN" sz="2800">
                <a:latin typeface="Calibri Light"/>
                <a:ea typeface="微软雅黑" pitchFamily="34" charset="-122"/>
              </a:rPr>
              <a:t>【IBM</a:t>
            </a:r>
            <a:r>
              <a:rPr lang="zh-CN" altLang="en-US" sz="2800">
                <a:latin typeface="Calibri Light"/>
                <a:ea typeface="微软雅黑" pitchFamily="34" charset="-122"/>
              </a:rPr>
              <a:t>推出个人电脑时用</a:t>
            </a:r>
            <a:r>
              <a:rPr lang="en-US" altLang="zh-CN" sz="2800">
                <a:latin typeface="Calibri Light"/>
                <a:ea typeface="微软雅黑" pitchFamily="34" charset="-122"/>
              </a:rPr>
              <a:t>75</a:t>
            </a:r>
            <a:r>
              <a:rPr lang="zh-CN" altLang="en-US" sz="2800">
                <a:latin typeface="Calibri Light"/>
                <a:ea typeface="微软雅黑" pitchFamily="34" charset="-122"/>
              </a:rPr>
              <a:t>％预算而年收入只占</a:t>
            </a:r>
            <a:r>
              <a:rPr lang="en-US" altLang="zh-CN" sz="2800">
                <a:latin typeface="Calibri Light"/>
                <a:ea typeface="微软雅黑" pitchFamily="34" charset="-122"/>
              </a:rPr>
              <a:t>5</a:t>
            </a:r>
            <a:r>
              <a:rPr lang="zh-CN" altLang="en-US" sz="2800">
                <a:latin typeface="Calibri Light"/>
                <a:ea typeface="微软雅黑" pitchFamily="34" charset="-122"/>
              </a:rPr>
              <a:t>％</a:t>
            </a:r>
            <a:r>
              <a:rPr lang="en-US" altLang="zh-CN" sz="2800">
                <a:latin typeface="Calibri Light"/>
                <a:ea typeface="微软雅黑" pitchFamily="34" charset="-122"/>
              </a:rPr>
              <a:t>】</a:t>
            </a:r>
            <a:r>
              <a:rPr lang="zh-CN" altLang="en-US" sz="2800">
                <a:latin typeface="Calibri Light"/>
                <a:ea typeface="微软雅黑" pitchFamily="34" charset="-122"/>
              </a:rPr>
              <a:t>全力以赴投入巨大资源，是抵制竞争对手袭击的最佳办法</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Footer Placeholder 7"/>
          <p:cNvSpPr>
            <a:spLocks noGrp="1"/>
          </p:cNvSpPr>
          <p:nvPr>
            <p:ph type="ftr" sz="quarter" idx="4294967295"/>
          </p:nvPr>
        </p:nvSpPr>
        <p:spPr bwMode="auto">
          <a:xfrm>
            <a:off x="7321550" y="6438900"/>
            <a:ext cx="4822825" cy="365125"/>
          </a:xfrm>
          <a:prstGeom prst="rect">
            <a:avLst/>
          </a:prstGeom>
          <a:noFill/>
          <a:ln>
            <a:miter lim="800000"/>
            <a:headEnd/>
            <a:tailEnd/>
          </a:ln>
        </p:spPr>
        <p:txBody>
          <a:bodyPr/>
          <a:lstStyle/>
          <a:p>
            <a:pPr algn="r"/>
            <a:endParaRPr lang="en-US" altLang="zh-CN" sz="1400">
              <a:solidFill>
                <a:srgbClr val="FFFFFF"/>
              </a:solidFill>
              <a:latin typeface="华文隶书"/>
              <a:ea typeface="华文隶书"/>
              <a:cs typeface="华文隶书"/>
            </a:endParaRPr>
          </a:p>
        </p:txBody>
      </p:sp>
      <p:sp>
        <p:nvSpPr>
          <p:cNvPr id="39938" name="矩形 1"/>
          <p:cNvSpPr>
            <a:spLocks noChangeArrowheads="1"/>
          </p:cNvSpPr>
          <p:nvPr/>
        </p:nvSpPr>
        <p:spPr bwMode="auto">
          <a:xfrm>
            <a:off x="952500" y="296863"/>
            <a:ext cx="10287000" cy="5586412"/>
          </a:xfrm>
          <a:prstGeom prst="rect">
            <a:avLst/>
          </a:prstGeom>
          <a:noFill/>
          <a:ln w="9525">
            <a:noFill/>
            <a:miter lim="800000"/>
            <a:headEnd/>
            <a:tailEnd/>
          </a:ln>
        </p:spPr>
        <p:txBody>
          <a:bodyPr>
            <a:spAutoFit/>
          </a:bodyPr>
          <a:lstStyle/>
          <a:p>
            <a:pPr>
              <a:lnSpc>
                <a:spcPct val="150000"/>
              </a:lnSpc>
            </a:pPr>
            <a:r>
              <a:rPr lang="zh-CN" altLang="en-US" sz="4000" b="1">
                <a:solidFill>
                  <a:srgbClr val="FF0000"/>
                </a:solidFill>
                <a:latin typeface="Calibri Light"/>
                <a:ea typeface="微软雅黑" pitchFamily="34" charset="-122"/>
              </a:rPr>
              <a:t>企业视角</a:t>
            </a:r>
            <a:r>
              <a:rPr lang="en-US" altLang="zh-CN" sz="4000" b="1">
                <a:solidFill>
                  <a:srgbClr val="FF0000"/>
                </a:solidFill>
                <a:latin typeface="Calibri Light"/>
                <a:ea typeface="微软雅黑" pitchFamily="34" charset="-122"/>
              </a:rPr>
              <a:t>VS</a:t>
            </a:r>
            <a:r>
              <a:rPr lang="zh-CN" altLang="en-US" sz="4000" b="1">
                <a:solidFill>
                  <a:srgbClr val="FF0000"/>
                </a:solidFill>
                <a:latin typeface="Calibri Light"/>
                <a:ea typeface="微软雅黑" pitchFamily="34" charset="-122"/>
              </a:rPr>
              <a:t>顾客视角</a:t>
            </a:r>
            <a:endParaRPr lang="en-US" altLang="zh-CN" sz="4000" b="1">
              <a:solidFill>
                <a:srgbClr val="FF0000"/>
              </a:solidFill>
              <a:latin typeface="Calibri Light"/>
              <a:ea typeface="微软雅黑" pitchFamily="34" charset="-122"/>
            </a:endParaRPr>
          </a:p>
          <a:p>
            <a:pPr>
              <a:lnSpc>
                <a:spcPct val="150000"/>
              </a:lnSpc>
            </a:pPr>
            <a:endParaRPr lang="en-US" altLang="zh-CN">
              <a:latin typeface="Calibri Light"/>
              <a:ea typeface="微软雅黑" pitchFamily="34" charset="-122"/>
            </a:endParaRPr>
          </a:p>
          <a:p>
            <a:pPr>
              <a:lnSpc>
                <a:spcPct val="150000"/>
              </a:lnSpc>
            </a:pPr>
            <a:r>
              <a:rPr lang="zh-CN" altLang="en-US" sz="2000">
                <a:latin typeface="Calibri Light"/>
                <a:ea typeface="微软雅黑" pitchFamily="34" charset="-122"/>
              </a:rPr>
              <a:t>从企业视角看企业的产品就是他的生命，他希望把企业产品的各种优点都讲给顾客听，而从顾客视角看，企业的产品可有可无并不影响他的生活，只是他生活中的一个过客。从看待竞争对手上，企业视角往往紧盯竞争对手的各种不足，希望向社会证明自己的产品比对手好多少，而从顾客视角，顾客往往被竞争对手的某个优势所吸引</a:t>
            </a:r>
            <a:endParaRPr lang="en-US" altLang="zh-CN" sz="2000">
              <a:latin typeface="Calibri Light"/>
              <a:ea typeface="微软雅黑" pitchFamily="34" charset="-122"/>
            </a:endParaRPr>
          </a:p>
          <a:p>
            <a:pPr>
              <a:lnSpc>
                <a:spcPct val="150000"/>
              </a:lnSpc>
            </a:pPr>
            <a:endParaRPr lang="en-US" altLang="zh-CN" sz="2000">
              <a:latin typeface="Calibri Light"/>
              <a:ea typeface="微软雅黑" pitchFamily="34" charset="-122"/>
            </a:endParaRPr>
          </a:p>
          <a:p>
            <a:pPr>
              <a:lnSpc>
                <a:spcPct val="150000"/>
              </a:lnSpc>
            </a:pPr>
            <a:r>
              <a:rPr lang="zh-CN" altLang="en-US" sz="2000">
                <a:latin typeface="Calibri Light"/>
                <a:ea typeface="微软雅黑" pitchFamily="34" charset="-122"/>
              </a:rPr>
              <a:t>从传播上看，企业似乎用了电视，广播，户外，分众，微博，微信感觉似乎无所不在了，实际上从顾客视角上基本没感觉，在每个接触点上都淹没在各种林立的品牌中。有经验的品牌擅长在局部市场上创造出最强资源。从企业视角上看，有好技术好品质就能赢得市场，而从顾客视角上看，因为你赢得了市场所以你的品质技术都是最好的。</a:t>
            </a: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矩形 1"/>
          <p:cNvSpPr>
            <a:spLocks noChangeArrowheads="1"/>
          </p:cNvSpPr>
          <p:nvPr/>
        </p:nvSpPr>
        <p:spPr bwMode="auto">
          <a:xfrm>
            <a:off x="1144588" y="839788"/>
            <a:ext cx="9223375" cy="4092575"/>
          </a:xfrm>
          <a:prstGeom prst="rect">
            <a:avLst/>
          </a:prstGeom>
          <a:noFill/>
          <a:ln w="9525">
            <a:noFill/>
            <a:miter lim="800000"/>
            <a:headEnd/>
            <a:tailEnd/>
          </a:ln>
        </p:spPr>
        <p:txBody>
          <a:bodyPr>
            <a:spAutoFit/>
          </a:bodyPr>
          <a:lstStyle/>
          <a:p>
            <a:r>
              <a:rPr lang="zh-CN" altLang="en-US" sz="4000" b="1">
                <a:solidFill>
                  <a:srgbClr val="FF0000"/>
                </a:solidFill>
                <a:latin typeface="Calibri Light"/>
                <a:ea typeface="微软雅黑" pitchFamily="34" charset="-122"/>
              </a:rPr>
              <a:t>饱和攻击才能建立品牌势能</a:t>
            </a:r>
            <a:endParaRPr lang="en-US" altLang="zh-CN" sz="4000" b="1">
              <a:solidFill>
                <a:srgbClr val="FF0000"/>
              </a:solidFill>
              <a:latin typeface="Calibri Light"/>
              <a:ea typeface="微软雅黑" pitchFamily="34" charset="-122"/>
            </a:endParaRPr>
          </a:p>
          <a:p>
            <a:endParaRPr lang="en-US" altLang="zh-CN" sz="4000" b="1">
              <a:solidFill>
                <a:srgbClr val="FF0000"/>
              </a:solidFill>
              <a:latin typeface="Calibri Light"/>
              <a:ea typeface="微软雅黑" pitchFamily="34" charset="-122"/>
            </a:endParaRPr>
          </a:p>
          <a:p>
            <a:pPr>
              <a:lnSpc>
                <a:spcPct val="150000"/>
              </a:lnSpc>
            </a:pPr>
            <a:r>
              <a:rPr lang="zh-CN" altLang="en-US" sz="2400" b="1">
                <a:latin typeface="Calibri Light"/>
                <a:ea typeface="微软雅黑" pitchFamily="34" charset="-122"/>
              </a:rPr>
              <a:t>一个真正想要赢得消费者信任的企业就必须树立品牌，</a:t>
            </a:r>
            <a:endParaRPr lang="en-US" altLang="zh-CN" sz="2400" b="1">
              <a:latin typeface="Calibri Light"/>
              <a:ea typeface="微软雅黑" pitchFamily="34" charset="-122"/>
            </a:endParaRPr>
          </a:p>
          <a:p>
            <a:pPr>
              <a:lnSpc>
                <a:spcPct val="150000"/>
              </a:lnSpc>
            </a:pPr>
            <a:r>
              <a:rPr lang="zh-CN" altLang="en-US" sz="2400" b="1">
                <a:latin typeface="Calibri Light"/>
                <a:ea typeface="微软雅黑" pitchFamily="34" charset="-122"/>
              </a:rPr>
              <a:t>要建立信任感就要找大媒体大投入</a:t>
            </a:r>
            <a:endParaRPr lang="en-US" altLang="zh-CN" sz="2400" b="1">
              <a:latin typeface="Calibri Light"/>
              <a:ea typeface="微软雅黑" pitchFamily="34" charset="-122"/>
            </a:endParaRPr>
          </a:p>
          <a:p>
            <a:pPr>
              <a:lnSpc>
                <a:spcPct val="150000"/>
              </a:lnSpc>
            </a:pPr>
            <a:endParaRPr lang="en-US" altLang="zh-CN" sz="2400" b="1">
              <a:latin typeface="Calibri Light"/>
              <a:ea typeface="微软雅黑" pitchFamily="34" charset="-122"/>
            </a:endParaRPr>
          </a:p>
          <a:p>
            <a:pPr>
              <a:lnSpc>
                <a:spcPct val="150000"/>
              </a:lnSpc>
            </a:pPr>
            <a:r>
              <a:rPr lang="zh-CN" altLang="en-US" sz="2400" b="1">
                <a:latin typeface="Calibri Light"/>
                <a:ea typeface="微软雅黑" pitchFamily="34" charset="-122"/>
              </a:rPr>
              <a:t>广告是企业给顾客发信号，信号必须强，如果信号不强则信号无效。广告要耀武扬威，要有很大的排场，才能建立品牌势能</a:t>
            </a: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Footer Placeholder 7"/>
          <p:cNvSpPr>
            <a:spLocks noGrp="1"/>
          </p:cNvSpPr>
          <p:nvPr>
            <p:ph type="ftr" sz="quarter" idx="4294967295"/>
          </p:nvPr>
        </p:nvSpPr>
        <p:spPr bwMode="auto">
          <a:xfrm>
            <a:off x="7321550" y="6438900"/>
            <a:ext cx="4822825" cy="365125"/>
          </a:xfrm>
          <a:prstGeom prst="rect">
            <a:avLst/>
          </a:prstGeom>
          <a:noFill/>
          <a:ln>
            <a:miter lim="800000"/>
            <a:headEnd/>
            <a:tailEnd/>
          </a:ln>
        </p:spPr>
        <p:txBody>
          <a:bodyPr/>
          <a:lstStyle/>
          <a:p>
            <a:pPr algn="r"/>
            <a:endParaRPr lang="en-US" altLang="zh-CN" sz="1400">
              <a:solidFill>
                <a:srgbClr val="FFFFFF"/>
              </a:solidFill>
              <a:latin typeface="华文隶书"/>
              <a:ea typeface="华文隶书"/>
              <a:cs typeface="华文隶书"/>
            </a:endParaRPr>
          </a:p>
        </p:txBody>
      </p:sp>
      <p:sp>
        <p:nvSpPr>
          <p:cNvPr id="125954" name="矩形 1"/>
          <p:cNvSpPr>
            <a:spLocks noChangeArrowheads="1"/>
          </p:cNvSpPr>
          <p:nvPr/>
        </p:nvSpPr>
        <p:spPr bwMode="auto">
          <a:xfrm>
            <a:off x="2782888" y="2374900"/>
            <a:ext cx="9223375" cy="1016000"/>
          </a:xfrm>
          <a:prstGeom prst="rect">
            <a:avLst/>
          </a:prstGeom>
          <a:noFill/>
          <a:ln w="9525">
            <a:noFill/>
            <a:miter lim="800000"/>
            <a:headEnd/>
            <a:tailEnd/>
          </a:ln>
        </p:spPr>
        <p:txBody>
          <a:bodyPr>
            <a:spAutoFit/>
          </a:bodyPr>
          <a:lstStyle/>
          <a:p>
            <a:r>
              <a:rPr lang="zh-CN" altLang="en-US" sz="6000" b="1">
                <a:solidFill>
                  <a:srgbClr val="FF0000"/>
                </a:solidFill>
                <a:latin typeface="Calibri Light"/>
                <a:ea typeface="微软雅黑" pitchFamily="34" charset="-122"/>
              </a:rPr>
              <a:t>知识产权</a:t>
            </a:r>
            <a:r>
              <a:rPr lang="en-US" altLang="zh-CN" sz="6000" b="1">
                <a:solidFill>
                  <a:srgbClr val="FF0000"/>
                </a:solidFill>
                <a:latin typeface="Calibri Light"/>
                <a:ea typeface="微软雅黑" pitchFamily="34" charset="-122"/>
              </a:rPr>
              <a:t>&amp;</a:t>
            </a:r>
            <a:r>
              <a:rPr lang="zh-CN" altLang="en-US" sz="6000" b="1">
                <a:solidFill>
                  <a:srgbClr val="FF0000"/>
                </a:solidFill>
                <a:latin typeface="Calibri Light"/>
                <a:ea typeface="微软雅黑" pitchFamily="34" charset="-122"/>
              </a:rPr>
              <a:t>心智产权</a:t>
            </a:r>
            <a:endParaRPr lang="en-US" altLang="zh-CN" sz="6000" b="1">
              <a:solidFill>
                <a:srgbClr val="FF0000"/>
              </a:solidFill>
              <a:latin typeface="Calibri Light"/>
              <a:ea typeface="微软雅黑" pitchFamily="34" charset="-122"/>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Footer Placeholder 7"/>
          <p:cNvSpPr>
            <a:spLocks noGrp="1"/>
          </p:cNvSpPr>
          <p:nvPr>
            <p:ph type="ftr" sz="quarter" idx="4294967295"/>
          </p:nvPr>
        </p:nvSpPr>
        <p:spPr bwMode="auto">
          <a:xfrm>
            <a:off x="7321550" y="6438900"/>
            <a:ext cx="4822825" cy="365125"/>
          </a:xfrm>
          <a:prstGeom prst="rect">
            <a:avLst/>
          </a:prstGeom>
          <a:noFill/>
          <a:ln>
            <a:miter lim="800000"/>
            <a:headEnd/>
            <a:tailEnd/>
          </a:ln>
        </p:spPr>
        <p:txBody>
          <a:bodyPr/>
          <a:lstStyle/>
          <a:p>
            <a:pPr algn="r"/>
            <a:endParaRPr lang="en-US" altLang="zh-CN" sz="1400">
              <a:solidFill>
                <a:srgbClr val="FFFFFF"/>
              </a:solidFill>
              <a:latin typeface="华文隶书"/>
              <a:ea typeface="华文隶书"/>
              <a:cs typeface="华文隶书"/>
            </a:endParaRPr>
          </a:p>
        </p:txBody>
      </p:sp>
      <p:sp>
        <p:nvSpPr>
          <p:cNvPr id="126978" name="矩形 5"/>
          <p:cNvSpPr>
            <a:spLocks noChangeArrowheads="1"/>
          </p:cNvSpPr>
          <p:nvPr/>
        </p:nvSpPr>
        <p:spPr bwMode="auto">
          <a:xfrm>
            <a:off x="984250" y="411163"/>
            <a:ext cx="9785350" cy="5508625"/>
          </a:xfrm>
          <a:prstGeom prst="rect">
            <a:avLst/>
          </a:prstGeom>
          <a:noFill/>
          <a:ln w="9525">
            <a:noFill/>
            <a:miter lim="800000"/>
            <a:headEnd/>
            <a:tailEnd/>
          </a:ln>
        </p:spPr>
        <p:txBody>
          <a:bodyPr>
            <a:spAutoFit/>
          </a:bodyPr>
          <a:lstStyle/>
          <a:p>
            <a:r>
              <a:rPr lang="zh-CN" altLang="en-US" sz="4000" b="1">
                <a:solidFill>
                  <a:srgbClr val="FF0000"/>
                </a:solidFill>
                <a:latin typeface="Calibri Light"/>
                <a:ea typeface="微软雅黑" pitchFamily="34" charset="-122"/>
              </a:rPr>
              <a:t>认知为什么大于事实？</a:t>
            </a:r>
            <a:endParaRPr lang="en-US" altLang="zh-CN" sz="4000" b="1">
              <a:solidFill>
                <a:srgbClr val="FF0000"/>
              </a:solidFill>
              <a:latin typeface="Calibri Light"/>
              <a:ea typeface="微软雅黑" pitchFamily="34" charset="-122"/>
            </a:endParaRPr>
          </a:p>
          <a:p>
            <a:endParaRPr lang="en-US" altLang="zh-CN" sz="2400" b="1">
              <a:latin typeface="华文中宋"/>
              <a:ea typeface="华文中宋"/>
              <a:cs typeface="华文中宋"/>
            </a:endParaRPr>
          </a:p>
          <a:p>
            <a:pPr>
              <a:lnSpc>
                <a:spcPct val="150000"/>
              </a:lnSpc>
            </a:pPr>
            <a:r>
              <a:rPr lang="zh-CN" altLang="en-US" sz="2400" b="1">
                <a:latin typeface="Calibri Light"/>
                <a:ea typeface="微软雅黑" pitchFamily="34" charset="-122"/>
              </a:rPr>
              <a:t>如果你的信息能嵌入顾客心智，顾客将只会认知你的信息，放大对你的感知。定位的本质就是夺取人心，影响并掌控顾客的认知。一旦顾客心智中建立起我们想要的认知，就赋予品牌强大的力量</a:t>
            </a:r>
          </a:p>
          <a:p>
            <a:pPr>
              <a:lnSpc>
                <a:spcPct val="150000"/>
              </a:lnSpc>
            </a:pPr>
            <a:endParaRPr lang="en-US" altLang="zh-CN" sz="2400">
              <a:latin typeface="华文中宋"/>
              <a:ea typeface="华文中宋"/>
              <a:cs typeface="华文中宋"/>
            </a:endParaRPr>
          </a:p>
          <a:p>
            <a:pPr>
              <a:lnSpc>
                <a:spcPct val="150000"/>
              </a:lnSpc>
            </a:pPr>
            <a:r>
              <a:rPr lang="zh-CN" altLang="en-US" sz="2400" b="1">
                <a:latin typeface="Calibri Light"/>
                <a:ea typeface="微软雅黑" pitchFamily="34" charset="-122"/>
              </a:rPr>
              <a:t>农夫山泉有点甜，调动了认知的力量，让许多人感觉农夫山泉的确比其它水更甘甜。人们基于对某个事物形成期望，会使这个事物往这个期望方向转变，或者说你期望什么就得到什么。你若把他人当作朋友，他便成朋友，你若把他人当作敌人，他就成了敌人。</a:t>
            </a:r>
            <a:endParaRPr lang="en-US" altLang="zh-CN" sz="2400" b="1">
              <a:latin typeface="Calibri Light"/>
              <a:ea typeface="微软雅黑" pitchFamily="34" charset="-122"/>
            </a:endParaRP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矩形 1"/>
          <p:cNvSpPr>
            <a:spLocks noChangeArrowheads="1"/>
          </p:cNvSpPr>
          <p:nvPr/>
        </p:nvSpPr>
        <p:spPr bwMode="auto">
          <a:xfrm>
            <a:off x="736600" y="765175"/>
            <a:ext cx="10718800" cy="4954588"/>
          </a:xfrm>
          <a:prstGeom prst="rect">
            <a:avLst/>
          </a:prstGeom>
          <a:noFill/>
          <a:ln w="9525">
            <a:noFill/>
            <a:miter lim="800000"/>
            <a:headEnd/>
            <a:tailEnd/>
          </a:ln>
        </p:spPr>
        <p:txBody>
          <a:bodyPr>
            <a:spAutoFit/>
          </a:bodyPr>
          <a:lstStyle/>
          <a:p>
            <a:r>
              <a:rPr lang="zh-CN" altLang="en-US" sz="4000" b="1">
                <a:solidFill>
                  <a:srgbClr val="FF0000"/>
                </a:solidFill>
                <a:latin typeface="Calibri Light"/>
                <a:ea typeface="微软雅黑" pitchFamily="34" charset="-122"/>
              </a:rPr>
              <a:t>没有心智产权，价格战流量战是必然。</a:t>
            </a:r>
            <a:endParaRPr lang="en-US" altLang="zh-CN" sz="4000" b="1">
              <a:solidFill>
                <a:srgbClr val="FF0000"/>
              </a:solidFill>
              <a:latin typeface="Calibri Light"/>
              <a:ea typeface="微软雅黑" pitchFamily="34" charset="-122"/>
            </a:endParaRPr>
          </a:p>
          <a:p>
            <a:endParaRPr lang="en-US" altLang="zh-CN" sz="4000" b="1">
              <a:solidFill>
                <a:srgbClr val="FF0000"/>
              </a:solidFill>
              <a:latin typeface="Calibri Light"/>
              <a:ea typeface="微软雅黑" pitchFamily="34" charset="-122"/>
            </a:endParaRPr>
          </a:p>
          <a:p>
            <a:pPr>
              <a:lnSpc>
                <a:spcPct val="200000"/>
              </a:lnSpc>
            </a:pPr>
            <a:r>
              <a:rPr lang="zh-CN" altLang="en-US">
                <a:latin typeface="Calibri Light"/>
                <a:ea typeface="微软雅黑" pitchFamily="34" charset="-122"/>
              </a:rPr>
              <a:t>一个创新的差异化产品如果没有把抓住时间窗口去饱和攻击抢占心智，</a:t>
            </a:r>
            <a:endParaRPr lang="en-US" altLang="zh-CN">
              <a:latin typeface="Calibri Light"/>
              <a:ea typeface="微软雅黑" pitchFamily="34" charset="-122"/>
            </a:endParaRPr>
          </a:p>
          <a:p>
            <a:pPr>
              <a:lnSpc>
                <a:spcPct val="200000"/>
              </a:lnSpc>
            </a:pPr>
            <a:r>
              <a:rPr lang="zh-CN" altLang="en-US" sz="3200" b="1">
                <a:latin typeface="Calibri Light"/>
                <a:ea typeface="微软雅黑" pitchFamily="34" charset="-122"/>
              </a:rPr>
              <a:t>竞争对手马上可以模仿从而又陷入价格战流量战，</a:t>
            </a:r>
            <a:endParaRPr lang="en-US" altLang="zh-CN" sz="3200" b="1">
              <a:latin typeface="Calibri Light"/>
              <a:ea typeface="微软雅黑" pitchFamily="34" charset="-122"/>
            </a:endParaRPr>
          </a:p>
          <a:p>
            <a:pPr>
              <a:lnSpc>
                <a:spcPct val="200000"/>
              </a:lnSpc>
            </a:pPr>
            <a:r>
              <a:rPr lang="zh-CN" altLang="en-US" sz="3200" b="1">
                <a:latin typeface="Calibri Light"/>
                <a:ea typeface="微软雅黑" pitchFamily="34" charset="-122"/>
              </a:rPr>
              <a:t>付出了原比这些广告费大的多得多的代价</a:t>
            </a:r>
            <a:endParaRPr lang="en-US" altLang="zh-CN" sz="3200" b="1">
              <a:latin typeface="Calibri Light"/>
              <a:ea typeface="微软雅黑" pitchFamily="34" charset="-122"/>
            </a:endParaRPr>
          </a:p>
          <a:p>
            <a:pPr>
              <a:lnSpc>
                <a:spcPct val="200000"/>
              </a:lnSpc>
            </a:pPr>
            <a:r>
              <a:rPr lang="zh-CN" altLang="en-US">
                <a:latin typeface="Calibri Light"/>
                <a:ea typeface="微软雅黑" pitchFamily="34" charset="-122"/>
              </a:rPr>
              <a:t>赶集</a:t>
            </a:r>
            <a:r>
              <a:rPr lang="en-US" altLang="zh-CN">
                <a:latin typeface="Calibri Light"/>
                <a:ea typeface="微软雅黑" pitchFamily="34" charset="-122"/>
              </a:rPr>
              <a:t>VS 58</a:t>
            </a:r>
            <a:r>
              <a:rPr lang="zh-CN" altLang="en-US">
                <a:latin typeface="Calibri Light"/>
                <a:ea typeface="微软雅黑" pitchFamily="34" charset="-122"/>
              </a:rPr>
              <a:t>，复盘时都说当年应该不惜代价打死对手，</a:t>
            </a:r>
            <a:endParaRPr lang="en-US" altLang="zh-CN">
              <a:latin typeface="Calibri Light"/>
              <a:ea typeface="微软雅黑" pitchFamily="34" charset="-122"/>
            </a:endParaRPr>
          </a:p>
          <a:p>
            <a:pPr>
              <a:lnSpc>
                <a:spcPct val="200000"/>
              </a:lnSpc>
            </a:pPr>
            <a:r>
              <a:rPr lang="zh-CN" altLang="en-US">
                <a:latin typeface="Calibri Light"/>
                <a:ea typeface="微软雅黑" pitchFamily="34" charset="-122"/>
              </a:rPr>
              <a:t>孙正义说要做遥遥领先的第一，不然你失去利润只是个时间问题。</a:t>
            </a:r>
            <a:endParaRPr lang="en-US" altLang="zh-CN">
              <a:latin typeface="Calibri Light"/>
              <a:ea typeface="微软雅黑" pitchFamily="34" charset="-122"/>
            </a:endParaRP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矩形 1"/>
          <p:cNvSpPr>
            <a:spLocks noChangeArrowheads="1"/>
          </p:cNvSpPr>
          <p:nvPr/>
        </p:nvSpPr>
        <p:spPr bwMode="auto">
          <a:xfrm>
            <a:off x="476250" y="1539875"/>
            <a:ext cx="6084888" cy="4894263"/>
          </a:xfrm>
          <a:prstGeom prst="rect">
            <a:avLst/>
          </a:prstGeom>
          <a:noFill/>
          <a:ln w="9525">
            <a:noFill/>
            <a:miter lim="800000"/>
            <a:headEnd/>
            <a:tailEnd/>
          </a:ln>
        </p:spPr>
        <p:txBody>
          <a:bodyPr>
            <a:spAutoFit/>
          </a:bodyPr>
          <a:lstStyle/>
          <a:p>
            <a:endParaRPr lang="en-US" altLang="zh-CN" sz="2400">
              <a:latin typeface="Calibri Light"/>
              <a:ea typeface="微软雅黑" pitchFamily="34" charset="-122"/>
            </a:endParaRPr>
          </a:p>
          <a:p>
            <a:pPr>
              <a:lnSpc>
                <a:spcPct val="200000"/>
              </a:lnSpc>
            </a:pPr>
            <a:r>
              <a:rPr lang="zh-CN" altLang="en-US" sz="2400">
                <a:latin typeface="Calibri Light"/>
                <a:ea typeface="微软雅黑" pitchFamily="34" charset="-122"/>
              </a:rPr>
              <a:t>根据创新扩散理论的研究，我们不难发现早期采用者对引爆新产品、新品牌起到至关紧要的作用，早期采用者在创新扩散过程中扮演着达人、推广员的角色，他们代表着最新锐的消费力量，影响着庞大的拥趸群体，从而在短时间内迅速引爆品牌。</a:t>
            </a:r>
            <a:endParaRPr lang="en-US" altLang="zh-CN" sz="2400">
              <a:latin typeface="Calibri Light"/>
              <a:ea typeface="微软雅黑" pitchFamily="34" charset="-122"/>
            </a:endParaRPr>
          </a:p>
        </p:txBody>
      </p:sp>
      <p:sp>
        <p:nvSpPr>
          <p:cNvPr id="129026" name="矩形 3"/>
          <p:cNvSpPr>
            <a:spLocks noChangeArrowheads="1"/>
          </p:cNvSpPr>
          <p:nvPr/>
        </p:nvSpPr>
        <p:spPr bwMode="auto">
          <a:xfrm>
            <a:off x="1200150" y="584200"/>
            <a:ext cx="10956925" cy="1016000"/>
          </a:xfrm>
          <a:prstGeom prst="rect">
            <a:avLst/>
          </a:prstGeom>
          <a:noFill/>
          <a:ln w="9525">
            <a:noFill/>
            <a:miter lim="800000"/>
            <a:headEnd/>
            <a:tailEnd/>
          </a:ln>
        </p:spPr>
        <p:txBody>
          <a:bodyPr wrap="none">
            <a:spAutoFit/>
          </a:bodyPr>
          <a:lstStyle/>
          <a:p>
            <a:pPr>
              <a:lnSpc>
                <a:spcPct val="150000"/>
              </a:lnSpc>
            </a:pPr>
            <a:r>
              <a:rPr lang="zh-CN" altLang="en-US" sz="4000" b="1">
                <a:solidFill>
                  <a:srgbClr val="FF0000"/>
                </a:solidFill>
                <a:latin typeface="Calibri Light"/>
                <a:ea typeface="微软雅黑" pitchFamily="34" charset="-122"/>
              </a:rPr>
              <a:t>锁点源点用户，让主流源点人群引爆跟风用户。</a:t>
            </a:r>
            <a:endParaRPr lang="en-US" altLang="zh-CN" sz="4000" b="1">
              <a:solidFill>
                <a:srgbClr val="FF0000"/>
              </a:solidFill>
              <a:latin typeface="Calibri Light"/>
              <a:ea typeface="微软雅黑" pitchFamily="34" charset="-122"/>
            </a:endParaRPr>
          </a:p>
        </p:txBody>
      </p:sp>
      <p:pic>
        <p:nvPicPr>
          <p:cNvPr id="129027" name="图片 4"/>
          <p:cNvPicPr>
            <a:picLocks noChangeAspect="1"/>
          </p:cNvPicPr>
          <p:nvPr/>
        </p:nvPicPr>
        <p:blipFill>
          <a:blip r:embed="rId2"/>
          <a:srcRect/>
          <a:stretch>
            <a:fillRect/>
          </a:stretch>
        </p:blipFill>
        <p:spPr bwMode="auto">
          <a:xfrm>
            <a:off x="6543675" y="2312988"/>
            <a:ext cx="5605463" cy="33480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任意多边形 49"/>
          <p:cNvSpPr/>
          <p:nvPr>
            <p:custDataLst>
              <p:tags r:id="rId2"/>
            </p:custDataLst>
          </p:nvPr>
        </p:nvSpPr>
        <p:spPr bwMode="auto">
          <a:xfrm>
            <a:off x="2495550" y="3181350"/>
            <a:ext cx="758825" cy="755650"/>
          </a:xfrm>
          <a:custGeom>
            <a:avLst/>
            <a:gdLst>
              <a:gd name="connsiteX0" fmla="*/ 697056 w 800580"/>
              <a:gd name="connsiteY0" fmla="*/ 58976 h 755406"/>
              <a:gd name="connsiteX1" fmla="*/ 653765 w 800580"/>
              <a:gd name="connsiteY1" fmla="*/ 97876 h 755406"/>
              <a:gd name="connsiteX2" fmla="*/ 697056 w 800580"/>
              <a:gd name="connsiteY2" fmla="*/ 136776 h 755406"/>
              <a:gd name="connsiteX3" fmla="*/ 740347 w 800580"/>
              <a:gd name="connsiteY3" fmla="*/ 97876 h 755406"/>
              <a:gd name="connsiteX4" fmla="*/ 697056 w 800580"/>
              <a:gd name="connsiteY4" fmla="*/ 58976 h 755406"/>
              <a:gd name="connsiteX5" fmla="*/ 400291 w 800580"/>
              <a:gd name="connsiteY5" fmla="*/ 0 h 755406"/>
              <a:gd name="connsiteX6" fmla="*/ 800580 w 800580"/>
              <a:gd name="connsiteY6" fmla="*/ 0 h 755406"/>
              <a:gd name="connsiteX7" fmla="*/ 800580 w 800580"/>
              <a:gd name="connsiteY7" fmla="*/ 377703 h 755406"/>
              <a:gd name="connsiteX8" fmla="*/ 400290 w 800580"/>
              <a:gd name="connsiteY8" fmla="*/ 755406 h 755406"/>
              <a:gd name="connsiteX9" fmla="*/ 0 w 800580"/>
              <a:gd name="connsiteY9" fmla="*/ 377703 h 755406"/>
              <a:gd name="connsiteX10" fmla="*/ 1 w 800580"/>
              <a:gd name="connsiteY10" fmla="*/ 377703 h 755406"/>
              <a:gd name="connsiteX11" fmla="*/ 400291 w 800580"/>
              <a:gd name="connsiteY11" fmla="*/ 0 h 755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0580" h="755406">
                <a:moveTo>
                  <a:pt x="697056" y="58976"/>
                </a:moveTo>
                <a:cubicBezTo>
                  <a:pt x="673147" y="58976"/>
                  <a:pt x="653765" y="76392"/>
                  <a:pt x="653765" y="97876"/>
                </a:cubicBezTo>
                <a:cubicBezTo>
                  <a:pt x="653765" y="119360"/>
                  <a:pt x="673147" y="136776"/>
                  <a:pt x="697056" y="136776"/>
                </a:cubicBezTo>
                <a:cubicBezTo>
                  <a:pt x="720965" y="136776"/>
                  <a:pt x="740347" y="119360"/>
                  <a:pt x="740347" y="97876"/>
                </a:cubicBezTo>
                <a:cubicBezTo>
                  <a:pt x="740347" y="76392"/>
                  <a:pt x="720965" y="58976"/>
                  <a:pt x="697056" y="58976"/>
                </a:cubicBezTo>
                <a:close/>
                <a:moveTo>
                  <a:pt x="400291" y="0"/>
                </a:moveTo>
                <a:lnTo>
                  <a:pt x="800580" y="0"/>
                </a:lnTo>
                <a:lnTo>
                  <a:pt x="800580" y="377703"/>
                </a:lnTo>
                <a:cubicBezTo>
                  <a:pt x="800580" y="586303"/>
                  <a:pt x="621364" y="755406"/>
                  <a:pt x="400290" y="755406"/>
                </a:cubicBezTo>
                <a:cubicBezTo>
                  <a:pt x="179216" y="755406"/>
                  <a:pt x="0" y="586303"/>
                  <a:pt x="0" y="377703"/>
                </a:cubicBezTo>
                <a:lnTo>
                  <a:pt x="1" y="377703"/>
                </a:lnTo>
                <a:cubicBezTo>
                  <a:pt x="1" y="169103"/>
                  <a:pt x="179217" y="0"/>
                  <a:pt x="400291" y="0"/>
                </a:cubicBezTo>
                <a:close/>
              </a:path>
            </a:pathLst>
          </a:custGeom>
          <a:solidFill>
            <a:srgbClr val="D2453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r>
              <a:rPr lang="en-US" altLang="zh-CN" sz="2800" dirty="0">
                <a:solidFill>
                  <a:srgbClr val="FFFFFF"/>
                </a:solidFill>
                <a:latin typeface="Kozuka Mincho Pr6N H" panose="02020900000000000000" pitchFamily="18" charset="-128"/>
                <a:ea typeface="Kozuka Mincho Pr6N H" panose="02020900000000000000" pitchFamily="18" charset="-128"/>
              </a:rPr>
              <a:t>1</a:t>
            </a:r>
            <a:endParaRPr lang="zh-CN" altLang="en-US" sz="2800" dirty="0">
              <a:solidFill>
                <a:srgbClr val="FFFFFF"/>
              </a:solidFill>
              <a:latin typeface="Kozuka Mincho Pr6N H" panose="02020900000000000000" pitchFamily="18" charset="-128"/>
              <a:ea typeface="Kozuka Mincho Pr6N H" panose="02020900000000000000" pitchFamily="18" charset="-128"/>
            </a:endParaRPr>
          </a:p>
        </p:txBody>
      </p:sp>
      <p:sp>
        <p:nvSpPr>
          <p:cNvPr id="8" name="矩形 7"/>
          <p:cNvSpPr/>
          <p:nvPr>
            <p:custDataLst>
              <p:tags r:id="rId3"/>
            </p:custDataLst>
          </p:nvPr>
        </p:nvSpPr>
        <p:spPr bwMode="auto">
          <a:xfrm>
            <a:off x="3395663" y="3316288"/>
            <a:ext cx="7183437" cy="485775"/>
          </a:xfrm>
          <a:prstGeom prst="rect">
            <a:avLst/>
          </a:prstGeom>
          <a:solidFill>
            <a:srgbClr val="D2453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defTabSz="914377" fontAlgn="auto">
              <a:spcBef>
                <a:spcPts val="0"/>
              </a:spcBef>
              <a:spcAft>
                <a:spcPts val="0"/>
              </a:spcAft>
              <a:defRPr/>
            </a:pPr>
            <a:r>
              <a:rPr lang="zh-CN" altLang="en-US" sz="2400" dirty="0">
                <a:solidFill>
                  <a:srgbClr val="FFFFFF"/>
                </a:solidFill>
                <a:latin typeface="微软雅黑" panose="020B0503020204020204" pitchFamily="34" charset="-122"/>
              </a:rPr>
              <a:t>中国消费市场趋势</a:t>
            </a:r>
            <a:endParaRPr lang="zh-CN" altLang="en-US" sz="2400" dirty="0">
              <a:solidFill>
                <a:srgbClr val="FFFFFF"/>
              </a:solidFill>
              <a:latin typeface="微软雅黑" panose="020B0503020204020204" pitchFamily="34" charset="-122"/>
            </a:endParaRPr>
          </a:p>
        </p:txBody>
      </p:sp>
      <p:sp>
        <p:nvSpPr>
          <p:cNvPr id="11" name="文本框 10"/>
          <p:cNvSpPr txBox="1"/>
          <p:nvPr>
            <p:custDataLst>
              <p:tags r:id="rId4"/>
            </p:custDataLst>
          </p:nvPr>
        </p:nvSpPr>
        <p:spPr>
          <a:xfrm>
            <a:off x="263525" y="115888"/>
            <a:ext cx="3317875" cy="1060450"/>
          </a:xfrm>
          <a:prstGeom prst="rect">
            <a:avLst/>
          </a:prstGeom>
          <a:noFill/>
        </p:spPr>
        <p:txBody>
          <a:bodyPr anchor="ctr"/>
          <a:lstStyle/>
          <a:p>
            <a:pPr algn="r" defTabSz="914377" fontAlgn="auto">
              <a:spcBef>
                <a:spcPts val="0"/>
              </a:spcBef>
              <a:spcAft>
                <a:spcPts val="0"/>
              </a:spcAft>
              <a:defRPr/>
            </a:pPr>
            <a:r>
              <a:rPr lang="en-US" altLang="zh-CN" sz="4000" spc="400" dirty="0">
                <a:solidFill>
                  <a:srgbClr val="BA0D09"/>
                </a:solidFill>
                <a:latin typeface="Algerian" panose="04020705040A02060702" pitchFamily="82" charset="0"/>
                <a:ea typeface="Kozuka Mincho Pro H" panose="02020A00000000000000" pitchFamily="18" charset="-128"/>
              </a:rPr>
              <a:t>Contents</a:t>
            </a:r>
            <a:endParaRPr lang="en-US" altLang="zh-CN" sz="4000" spc="400" dirty="0">
              <a:solidFill>
                <a:srgbClr val="BA0D09"/>
              </a:solidFill>
              <a:latin typeface="Algerian" panose="04020705040A02060702" pitchFamily="82" charset="0"/>
              <a:ea typeface="Kozuka Mincho Pro H" panose="02020A00000000000000" pitchFamily="18" charset="-128"/>
            </a:endParaRPr>
          </a:p>
        </p:txBody>
      </p:sp>
      <p:sp>
        <p:nvSpPr>
          <p:cNvPr id="130052" name="页脚占位符 3"/>
          <p:cNvSpPr txBox="1">
            <a:spLocks/>
          </p:cNvSpPr>
          <p:nvPr/>
        </p:nvSpPr>
        <p:spPr bwMode="auto">
          <a:xfrm>
            <a:off x="1479550" y="6426200"/>
            <a:ext cx="7094538" cy="122238"/>
          </a:xfrm>
          <a:prstGeom prst="rect">
            <a:avLst/>
          </a:prstGeom>
          <a:noFill/>
          <a:ln w="9525">
            <a:noFill/>
            <a:miter lim="800000"/>
            <a:headEnd/>
            <a:tailEnd/>
          </a:ln>
        </p:spPr>
        <p:txBody>
          <a:bodyPr lIns="0" tIns="0" rIns="0" bIns="0" anchor="ctr">
            <a:spAutoFit/>
          </a:bodyPr>
          <a:lstStyle/>
          <a:p>
            <a:r>
              <a:rPr lang="zh-CN" altLang="en-US" sz="800">
                <a:solidFill>
                  <a:srgbClr val="7F7F7F"/>
                </a:solidFill>
                <a:latin typeface="Calibri Light"/>
                <a:ea typeface="微软雅黑" pitchFamily="34" charset="-122"/>
              </a:rPr>
              <a:t>国际视野  洞察中国 </a:t>
            </a:r>
            <a:r>
              <a:rPr lang="en-US" altLang="zh-CN" sz="800">
                <a:solidFill>
                  <a:srgbClr val="7F7F7F"/>
                </a:solidFill>
                <a:latin typeface="Calibri Light"/>
                <a:ea typeface="微软雅黑" pitchFamily="34" charset="-122"/>
              </a:rPr>
              <a:t>|  Global Perception</a:t>
            </a:r>
            <a:r>
              <a:rPr lang="en-US" altLang="en-US" sz="800">
                <a:solidFill>
                  <a:srgbClr val="7F7F7F"/>
                </a:solidFill>
                <a:latin typeface="Calibri Light"/>
                <a:ea typeface="微软雅黑" pitchFamily="34" charset="-122"/>
              </a:rPr>
              <a:t>，</a:t>
            </a:r>
            <a:r>
              <a:rPr lang="en-US" altLang="zh-CN" sz="800">
                <a:solidFill>
                  <a:srgbClr val="7F7F7F"/>
                </a:solidFill>
                <a:latin typeface="Calibri Light"/>
                <a:ea typeface="微软雅黑" pitchFamily="34" charset="-122"/>
              </a:rPr>
              <a:t>China Insight</a:t>
            </a:r>
            <a:endParaRPr lang="en-US" altLang="en-US" sz="800">
              <a:solidFill>
                <a:srgbClr val="7F7F7F"/>
              </a:solidFill>
              <a:latin typeface="Calibri Light"/>
              <a:ea typeface="微软雅黑" pitchFamily="34" charset="-122"/>
            </a:endParaRPr>
          </a:p>
        </p:txBody>
      </p:sp>
    </p:spTree>
    <p:custDataLst>
      <p:tags r:id="rId1"/>
    </p:custData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灯片编号占位符 3"/>
          <p:cNvSpPr>
            <a:spLocks noGrp="1"/>
          </p:cNvSpPr>
          <p:nvPr>
            <p:ph type="sldNum" sz="quarter" idx="10"/>
          </p:nvPr>
        </p:nvSpPr>
        <p:spPr bwMode="auto">
          <a:xfrm>
            <a:off x="1479550" y="5368925"/>
            <a:ext cx="828675" cy="144463"/>
          </a:xfrm>
          <a:noFill/>
          <a:ln>
            <a:miter lim="800000"/>
            <a:headEnd/>
            <a:tailEnd/>
          </a:ln>
        </p:spPr>
        <p:txBody>
          <a:bodyPr vert="horz" wrap="square" lIns="121917" tIns="60958" rIns="121917" bIns="60958" numCol="1" anchor="t" anchorCtr="0" compatLnSpc="1">
            <a:prstTxWarp prst="textNoShape">
              <a:avLst/>
            </a:prstTxWarp>
          </a:bodyPr>
          <a:lstStyle/>
          <a:p>
            <a:pPr defTabSz="912813" fontAlgn="base">
              <a:spcBef>
                <a:spcPct val="0"/>
              </a:spcBef>
              <a:spcAft>
                <a:spcPct val="0"/>
              </a:spcAft>
            </a:pPr>
            <a:fld id="{4B0BACC1-73C2-4103-B52B-A4EF84F2F38D}" type="slidenum">
              <a:rPr lang="zh-CN" altLang="en-US">
                <a:solidFill>
                  <a:srgbClr val="595959"/>
                </a:solidFill>
              </a:rPr>
              <a:pPr defTabSz="912813" fontAlgn="base">
                <a:spcBef>
                  <a:spcPct val="0"/>
                </a:spcBef>
                <a:spcAft>
                  <a:spcPct val="0"/>
                </a:spcAft>
              </a:pPr>
              <a:t>66</a:t>
            </a:fld>
            <a:endParaRPr lang="en-US" altLang="zh-CN">
              <a:solidFill>
                <a:srgbClr val="595959"/>
              </a:solidFill>
            </a:endParaRPr>
          </a:p>
        </p:txBody>
      </p:sp>
      <p:sp>
        <p:nvSpPr>
          <p:cNvPr id="131074" name="AutoShape 4" descr="http://www.cs.com.cn/tzjj/tjdh/201512/W020151204396805927035.png"/>
          <p:cNvSpPr>
            <a:spLocks noChangeAspect="1" noChangeArrowheads="1"/>
          </p:cNvSpPr>
          <p:nvPr/>
        </p:nvSpPr>
        <p:spPr bwMode="auto">
          <a:xfrm>
            <a:off x="155575" y="-144463"/>
            <a:ext cx="304800" cy="304801"/>
          </a:xfrm>
          <a:prstGeom prst="rect">
            <a:avLst/>
          </a:prstGeom>
          <a:noFill/>
          <a:ln w="9525">
            <a:noFill/>
            <a:miter lim="800000"/>
            <a:headEnd/>
            <a:tailEnd/>
          </a:ln>
        </p:spPr>
        <p:txBody>
          <a:bodyPr lIns="91420" tIns="45711" rIns="91420" bIns="45711"/>
          <a:lstStyle/>
          <a:p>
            <a:endParaRPr lang="zh-CN" altLang="en-US">
              <a:solidFill>
                <a:srgbClr val="000000"/>
              </a:solidFill>
              <a:latin typeface="Calibri Light"/>
              <a:ea typeface="微软雅黑" pitchFamily="34" charset="-122"/>
            </a:endParaRPr>
          </a:p>
        </p:txBody>
      </p:sp>
      <p:sp>
        <p:nvSpPr>
          <p:cNvPr id="131075" name="Text Box 11"/>
          <p:cNvSpPr txBox="1">
            <a:spLocks noChangeArrowheads="1"/>
          </p:cNvSpPr>
          <p:nvPr/>
        </p:nvSpPr>
        <p:spPr bwMode="auto">
          <a:xfrm>
            <a:off x="581025" y="5903913"/>
            <a:ext cx="5514975" cy="296862"/>
          </a:xfrm>
          <a:prstGeom prst="rect">
            <a:avLst/>
          </a:prstGeom>
          <a:noFill/>
          <a:ln w="9525">
            <a:noFill/>
            <a:miter lim="800000"/>
            <a:headEnd/>
            <a:tailEnd/>
          </a:ln>
        </p:spPr>
        <p:txBody>
          <a:bodyPr lIns="111107" tIns="55553" rIns="111107" bIns="55553">
            <a:spAutoFit/>
          </a:bodyPr>
          <a:lstStyle/>
          <a:p>
            <a:pPr algn="r">
              <a:spcBef>
                <a:spcPct val="50000"/>
              </a:spcBef>
            </a:pPr>
            <a:r>
              <a:rPr lang="zh-CN" altLang="en-US" sz="1200">
                <a:solidFill>
                  <a:srgbClr val="595959"/>
                </a:solidFill>
                <a:latin typeface="Calibri Light"/>
                <a:ea typeface="微软雅黑" pitchFamily="34" charset="-122"/>
                <a:cs typeface="Times New Roman" pitchFamily="18" charset="0"/>
              </a:rPr>
              <a:t>数据来源：贝恩</a:t>
            </a:r>
            <a:r>
              <a:rPr lang="en-US" altLang="zh-CN" sz="1200">
                <a:solidFill>
                  <a:srgbClr val="595959"/>
                </a:solidFill>
                <a:latin typeface="Calibri Light"/>
                <a:ea typeface="微软雅黑" pitchFamily="34" charset="-122"/>
                <a:cs typeface="Times New Roman" pitchFamily="18" charset="0"/>
              </a:rPr>
              <a:t>&amp;KWP</a:t>
            </a:r>
            <a:r>
              <a:rPr lang="zh-CN" altLang="en-US" sz="1200">
                <a:solidFill>
                  <a:srgbClr val="595959"/>
                </a:solidFill>
                <a:latin typeface="Calibri Light"/>
                <a:ea typeface="微软雅黑" pitchFamily="34" charset="-122"/>
                <a:cs typeface="Times New Roman" pitchFamily="18" charset="0"/>
              </a:rPr>
              <a:t>消费者趋势报告</a:t>
            </a:r>
          </a:p>
        </p:txBody>
      </p:sp>
      <p:sp>
        <p:nvSpPr>
          <p:cNvPr id="131076" name="标题 8"/>
          <p:cNvSpPr txBox="1">
            <a:spLocks/>
          </p:cNvSpPr>
          <p:nvPr/>
        </p:nvSpPr>
        <p:spPr bwMode="auto">
          <a:xfrm>
            <a:off x="2541588" y="0"/>
            <a:ext cx="11139487" cy="885825"/>
          </a:xfrm>
          <a:prstGeom prst="rect">
            <a:avLst/>
          </a:prstGeom>
          <a:noFill/>
          <a:ln w="9525">
            <a:noFill/>
            <a:miter lim="800000"/>
            <a:headEnd/>
            <a:tailEnd/>
          </a:ln>
        </p:spPr>
        <p:txBody>
          <a:bodyPr lIns="121914" tIns="60957" rIns="121914" bIns="60957" anchor="b"/>
          <a:lstStyle/>
          <a:p>
            <a:r>
              <a:rPr lang="zh-CN" altLang="en-US" sz="3200" b="1">
                <a:solidFill>
                  <a:srgbClr val="000000"/>
                </a:solidFill>
                <a:latin typeface="微软雅黑" pitchFamily="34" charset="-122"/>
                <a:ea typeface="微软雅黑" pitchFamily="34" charset="-122"/>
                <a:cs typeface="Times New Roman" pitchFamily="18" charset="0"/>
              </a:rPr>
              <a:t>市场销售额增速放缓背后存在两种不同市场增长</a:t>
            </a:r>
            <a:endParaRPr lang="zh-CN" altLang="en-US" sz="2400" b="1">
              <a:solidFill>
                <a:srgbClr val="717171"/>
              </a:solidFill>
              <a:latin typeface="微软雅黑" pitchFamily="34" charset="-122"/>
              <a:ea typeface="微软雅黑" pitchFamily="34" charset="-122"/>
              <a:cs typeface="Times New Roman" pitchFamily="18" charset="0"/>
            </a:endParaRPr>
          </a:p>
        </p:txBody>
      </p:sp>
      <p:graphicFrame>
        <p:nvGraphicFramePr>
          <p:cNvPr id="6" name="图示 5"/>
          <p:cNvGraphicFramePr/>
          <p:nvPr/>
        </p:nvGraphicFramePr>
        <p:xfrm>
          <a:off x="-390635" y="1855342"/>
          <a:ext cx="8128000" cy="29253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1078" name="TextBox 8"/>
          <p:cNvSpPr txBox="1">
            <a:spLocks noChangeArrowheads="1"/>
          </p:cNvSpPr>
          <p:nvPr/>
        </p:nvSpPr>
        <p:spPr bwMode="auto">
          <a:xfrm>
            <a:off x="7245350" y="2990850"/>
            <a:ext cx="4827588" cy="647700"/>
          </a:xfrm>
          <a:prstGeom prst="rect">
            <a:avLst/>
          </a:prstGeom>
          <a:noFill/>
          <a:ln w="9525">
            <a:noFill/>
            <a:miter lim="800000"/>
            <a:headEnd/>
            <a:tailEnd/>
          </a:ln>
        </p:spPr>
        <p:txBody>
          <a:bodyPr lIns="91438" tIns="45719" rIns="91438" bIns="45719">
            <a:spAutoFit/>
          </a:bodyPr>
          <a:lstStyle/>
          <a:p>
            <a:r>
              <a:rPr lang="zh-CN" altLang="en-US" sz="3600" b="1">
                <a:solidFill>
                  <a:srgbClr val="000000"/>
                </a:solidFill>
                <a:latin typeface="Calibri Light"/>
                <a:ea typeface="微软雅黑" pitchFamily="34" charset="-122"/>
              </a:rPr>
              <a:t>消费分化“双速前进”</a:t>
            </a:r>
          </a:p>
        </p:txBody>
      </p:sp>
      <p:sp>
        <p:nvSpPr>
          <p:cNvPr id="11" name="KSO_Shape"/>
          <p:cNvSpPr/>
          <p:nvPr/>
        </p:nvSpPr>
        <p:spPr>
          <a:xfrm>
            <a:off x="6038850" y="1484313"/>
            <a:ext cx="1698625" cy="788987"/>
          </a:xfrm>
          <a:custGeom>
            <a:avLst/>
            <a:gdLst>
              <a:gd name="connsiteX0" fmla="*/ 405946 w 461547"/>
              <a:gd name="connsiteY0" fmla="*/ 0 h 641672"/>
              <a:gd name="connsiteX1" fmla="*/ 461547 w 461547"/>
              <a:gd name="connsiteY1" fmla="*/ 346143 h 641672"/>
              <a:gd name="connsiteX2" fmla="*/ 459596 w 461547"/>
              <a:gd name="connsiteY2" fmla="*/ 345737 h 641672"/>
              <a:gd name="connsiteX3" fmla="*/ 382928 w 461547"/>
              <a:gd name="connsiteY3" fmla="*/ 242787 h 641672"/>
              <a:gd name="connsiteX4" fmla="*/ 381480 w 461547"/>
              <a:gd name="connsiteY4" fmla="*/ 247440 h 641672"/>
              <a:gd name="connsiteX5" fmla="*/ 0 w 461547"/>
              <a:gd name="connsiteY5" fmla="*/ 639491 h 641672"/>
              <a:gd name="connsiteX6" fmla="*/ 329858 w 461547"/>
              <a:gd name="connsiteY6" fmla="*/ 237025 h 641672"/>
              <a:gd name="connsiteX7" fmla="*/ 331034 w 461547"/>
              <a:gd name="connsiteY7" fmla="*/ 231233 h 641672"/>
              <a:gd name="connsiteX8" fmla="*/ 218681 w 461547"/>
              <a:gd name="connsiteY8" fmla="*/ 295540 h 641672"/>
              <a:gd name="connsiteX9" fmla="*/ 216730 w 461547"/>
              <a:gd name="connsiteY9" fmla="*/ 295133 h 64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547" h="641672">
                <a:moveTo>
                  <a:pt x="405946" y="0"/>
                </a:moveTo>
                <a:lnTo>
                  <a:pt x="461547" y="346143"/>
                </a:lnTo>
                <a:lnTo>
                  <a:pt x="459596" y="345737"/>
                </a:lnTo>
                <a:lnTo>
                  <a:pt x="382928" y="242787"/>
                </a:lnTo>
                <a:lnTo>
                  <a:pt x="381480" y="247440"/>
                </a:lnTo>
                <a:cubicBezTo>
                  <a:pt x="258966" y="618095"/>
                  <a:pt x="24250" y="652446"/>
                  <a:pt x="0" y="639491"/>
                </a:cubicBezTo>
                <a:cubicBezTo>
                  <a:pt x="130520" y="649125"/>
                  <a:pt x="294836" y="390929"/>
                  <a:pt x="329858" y="237025"/>
                </a:cubicBezTo>
                <a:lnTo>
                  <a:pt x="331034" y="231233"/>
                </a:lnTo>
                <a:lnTo>
                  <a:pt x="218681" y="295540"/>
                </a:lnTo>
                <a:lnTo>
                  <a:pt x="216730" y="29513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354" eaLnBrk="1" fontAlgn="auto" hangingPunct="1">
              <a:spcBef>
                <a:spcPts val="0"/>
              </a:spcBef>
              <a:spcAft>
                <a:spcPts val="0"/>
              </a:spcAft>
              <a:defRPr/>
            </a:pPr>
            <a:endParaRPr lang="zh-CN" altLang="en-US" dirty="0">
              <a:solidFill>
                <a:srgbClr val="FFFFFF"/>
              </a:solidFill>
            </a:endParaRPr>
          </a:p>
        </p:txBody>
      </p:sp>
      <p:sp>
        <p:nvSpPr>
          <p:cNvPr id="12" name="TextBox 11"/>
          <p:cNvSpPr txBox="1">
            <a:spLocks noChangeArrowheads="1"/>
          </p:cNvSpPr>
          <p:nvPr/>
        </p:nvSpPr>
        <p:spPr bwMode="auto">
          <a:xfrm>
            <a:off x="7754938" y="1223963"/>
            <a:ext cx="4587875" cy="954087"/>
          </a:xfrm>
          <a:prstGeom prst="rect">
            <a:avLst/>
          </a:prstGeom>
          <a:noFill/>
          <a:ln w="9525">
            <a:noFill/>
            <a:miter lim="800000"/>
            <a:headEnd/>
            <a:tailEnd/>
          </a:ln>
        </p:spPr>
        <p:txBody>
          <a:bodyPr lIns="91438" tIns="45719" rIns="91438" bIns="45719">
            <a:spAutoFit/>
          </a:bodyPr>
          <a:lstStyle/>
          <a:p>
            <a:r>
              <a:rPr lang="zh-CN" altLang="en-US" sz="2000" b="1">
                <a:solidFill>
                  <a:srgbClr val="FF0000"/>
                </a:solidFill>
                <a:latin typeface="Calibri Light"/>
                <a:ea typeface="微软雅黑" pitchFamily="34" charset="-122"/>
              </a:rPr>
              <a:t>高端品类及单品高速增长：</a:t>
            </a:r>
            <a:endParaRPr lang="en-US" altLang="zh-CN" sz="2000" b="1">
              <a:solidFill>
                <a:srgbClr val="FF0000"/>
              </a:solidFill>
              <a:latin typeface="Calibri Light"/>
              <a:ea typeface="微软雅黑" pitchFamily="34" charset="-122"/>
            </a:endParaRPr>
          </a:p>
          <a:p>
            <a:r>
              <a:rPr lang="zh-CN" altLang="en-US">
                <a:solidFill>
                  <a:srgbClr val="000000"/>
                </a:solidFill>
                <a:latin typeface="Calibri Light"/>
                <a:ea typeface="微软雅黑" pitchFamily="34" charset="-122"/>
              </a:rPr>
              <a:t>宠物食品 </a:t>
            </a:r>
            <a:r>
              <a:rPr lang="en-US" altLang="zh-CN">
                <a:solidFill>
                  <a:srgbClr val="000000"/>
                </a:solidFill>
                <a:latin typeface="Calibri Light"/>
                <a:ea typeface="微软雅黑" pitchFamily="34" charset="-122"/>
              </a:rPr>
              <a:t>+11.7%</a:t>
            </a:r>
          </a:p>
          <a:p>
            <a:r>
              <a:rPr lang="zh-CN" altLang="en-US">
                <a:solidFill>
                  <a:srgbClr val="000000"/>
                </a:solidFill>
                <a:latin typeface="Calibri Light"/>
                <a:ea typeface="微软雅黑" pitchFamily="34" charset="-122"/>
              </a:rPr>
              <a:t>酸奶 </a:t>
            </a:r>
            <a:r>
              <a:rPr lang="en-US" altLang="zh-CN">
                <a:solidFill>
                  <a:srgbClr val="000000"/>
                </a:solidFill>
                <a:latin typeface="Calibri Light"/>
                <a:ea typeface="微软雅黑" pitchFamily="34" charset="-122"/>
              </a:rPr>
              <a:t>+20.6%</a:t>
            </a:r>
            <a:endParaRPr lang="zh-CN" altLang="en-US">
              <a:solidFill>
                <a:srgbClr val="000000"/>
              </a:solidFill>
              <a:latin typeface="Calibri Light"/>
              <a:ea typeface="微软雅黑" pitchFamily="34" charset="-122"/>
            </a:endParaRPr>
          </a:p>
        </p:txBody>
      </p:sp>
      <p:sp>
        <p:nvSpPr>
          <p:cNvPr id="13" name="KSO_Shape"/>
          <p:cNvSpPr/>
          <p:nvPr/>
        </p:nvSpPr>
        <p:spPr>
          <a:xfrm flipV="1">
            <a:off x="6096000" y="4005263"/>
            <a:ext cx="1698625" cy="795337"/>
          </a:xfrm>
          <a:custGeom>
            <a:avLst/>
            <a:gdLst>
              <a:gd name="connsiteX0" fmla="*/ 405946 w 461547"/>
              <a:gd name="connsiteY0" fmla="*/ 0 h 641672"/>
              <a:gd name="connsiteX1" fmla="*/ 461547 w 461547"/>
              <a:gd name="connsiteY1" fmla="*/ 346143 h 641672"/>
              <a:gd name="connsiteX2" fmla="*/ 459596 w 461547"/>
              <a:gd name="connsiteY2" fmla="*/ 345737 h 641672"/>
              <a:gd name="connsiteX3" fmla="*/ 382928 w 461547"/>
              <a:gd name="connsiteY3" fmla="*/ 242787 h 641672"/>
              <a:gd name="connsiteX4" fmla="*/ 381480 w 461547"/>
              <a:gd name="connsiteY4" fmla="*/ 247440 h 641672"/>
              <a:gd name="connsiteX5" fmla="*/ 0 w 461547"/>
              <a:gd name="connsiteY5" fmla="*/ 639491 h 641672"/>
              <a:gd name="connsiteX6" fmla="*/ 329858 w 461547"/>
              <a:gd name="connsiteY6" fmla="*/ 237025 h 641672"/>
              <a:gd name="connsiteX7" fmla="*/ 331034 w 461547"/>
              <a:gd name="connsiteY7" fmla="*/ 231233 h 641672"/>
              <a:gd name="connsiteX8" fmla="*/ 218681 w 461547"/>
              <a:gd name="connsiteY8" fmla="*/ 295540 h 641672"/>
              <a:gd name="connsiteX9" fmla="*/ 216730 w 461547"/>
              <a:gd name="connsiteY9" fmla="*/ 295133 h 64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547" h="641672">
                <a:moveTo>
                  <a:pt x="405946" y="0"/>
                </a:moveTo>
                <a:lnTo>
                  <a:pt x="461547" y="346143"/>
                </a:lnTo>
                <a:lnTo>
                  <a:pt x="459596" y="345737"/>
                </a:lnTo>
                <a:lnTo>
                  <a:pt x="382928" y="242787"/>
                </a:lnTo>
                <a:lnTo>
                  <a:pt x="381480" y="247440"/>
                </a:lnTo>
                <a:cubicBezTo>
                  <a:pt x="258966" y="618095"/>
                  <a:pt x="24250" y="652446"/>
                  <a:pt x="0" y="639491"/>
                </a:cubicBezTo>
                <a:cubicBezTo>
                  <a:pt x="130520" y="649125"/>
                  <a:pt x="294836" y="390929"/>
                  <a:pt x="329858" y="237025"/>
                </a:cubicBezTo>
                <a:lnTo>
                  <a:pt x="331034" y="231233"/>
                </a:lnTo>
                <a:lnTo>
                  <a:pt x="218681" y="295540"/>
                </a:lnTo>
                <a:lnTo>
                  <a:pt x="216730" y="295133"/>
                </a:ln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354" eaLnBrk="1" fontAlgn="auto" hangingPunct="1">
              <a:spcBef>
                <a:spcPts val="0"/>
              </a:spcBef>
              <a:spcAft>
                <a:spcPts val="0"/>
              </a:spcAft>
              <a:defRPr/>
            </a:pPr>
            <a:endParaRPr lang="zh-CN" altLang="en-US" dirty="0">
              <a:solidFill>
                <a:srgbClr val="FFFFFF"/>
              </a:solidFill>
            </a:endParaRPr>
          </a:p>
        </p:txBody>
      </p:sp>
      <p:sp>
        <p:nvSpPr>
          <p:cNvPr id="14" name="TextBox 13"/>
          <p:cNvSpPr txBox="1">
            <a:spLocks noChangeArrowheads="1"/>
          </p:cNvSpPr>
          <p:nvPr/>
        </p:nvSpPr>
        <p:spPr bwMode="auto">
          <a:xfrm>
            <a:off x="7880350" y="3824288"/>
            <a:ext cx="4311650" cy="954087"/>
          </a:xfrm>
          <a:prstGeom prst="rect">
            <a:avLst/>
          </a:prstGeom>
          <a:noFill/>
          <a:ln w="9525">
            <a:noFill/>
            <a:miter lim="800000"/>
            <a:headEnd/>
            <a:tailEnd/>
          </a:ln>
        </p:spPr>
        <p:txBody>
          <a:bodyPr lIns="91438" tIns="45719" rIns="91438" bIns="45719">
            <a:spAutoFit/>
          </a:bodyPr>
          <a:lstStyle/>
          <a:p>
            <a:r>
              <a:rPr lang="zh-CN" altLang="en-US" sz="2000" b="1">
                <a:solidFill>
                  <a:srgbClr val="FF0000"/>
                </a:solidFill>
                <a:latin typeface="Calibri Light"/>
                <a:ea typeface="微软雅黑" pitchFamily="34" charset="-122"/>
              </a:rPr>
              <a:t>平价品类及单品支出减缓：</a:t>
            </a:r>
            <a:endParaRPr lang="en-US" altLang="zh-CN" sz="2000" b="1">
              <a:solidFill>
                <a:srgbClr val="FF0000"/>
              </a:solidFill>
              <a:latin typeface="Calibri Light"/>
              <a:ea typeface="微软雅黑" pitchFamily="34" charset="-122"/>
            </a:endParaRPr>
          </a:p>
          <a:p>
            <a:r>
              <a:rPr lang="zh-CN" altLang="en-US">
                <a:solidFill>
                  <a:srgbClr val="000000"/>
                </a:solidFill>
                <a:latin typeface="Calibri Light"/>
                <a:ea typeface="微软雅黑" pitchFamily="34" charset="-122"/>
              </a:rPr>
              <a:t>啤酒 </a:t>
            </a:r>
            <a:r>
              <a:rPr lang="en-US" altLang="zh-CN">
                <a:solidFill>
                  <a:srgbClr val="000000"/>
                </a:solidFill>
                <a:latin typeface="Calibri Light"/>
                <a:ea typeface="微软雅黑" pitchFamily="34" charset="-122"/>
              </a:rPr>
              <a:t>-3.6%</a:t>
            </a:r>
          </a:p>
          <a:p>
            <a:r>
              <a:rPr lang="zh-CN" altLang="en-US">
                <a:solidFill>
                  <a:srgbClr val="000000"/>
                </a:solidFill>
                <a:latin typeface="Calibri Light"/>
                <a:ea typeface="微软雅黑" pitchFamily="34" charset="-122"/>
              </a:rPr>
              <a:t>方便面 </a:t>
            </a:r>
            <a:r>
              <a:rPr lang="en-US" altLang="zh-CN">
                <a:solidFill>
                  <a:srgbClr val="000000"/>
                </a:solidFill>
                <a:latin typeface="Calibri Light"/>
                <a:ea typeface="微软雅黑" pitchFamily="34" charset="-122"/>
              </a:rPr>
              <a:t>-12.6%</a:t>
            </a:r>
            <a:endParaRPr lang="zh-CN" altLang="en-US">
              <a:solidFill>
                <a:srgbClr val="000000"/>
              </a:solidFill>
              <a:latin typeface="Calibri Light"/>
              <a:ea typeface="微软雅黑" pitchFamily="34" charset="-122"/>
            </a:endParaRPr>
          </a:p>
        </p:txBody>
      </p:sp>
      <p:sp>
        <p:nvSpPr>
          <p:cNvPr id="5" name="矩形 4"/>
          <p:cNvSpPr/>
          <p:nvPr/>
        </p:nvSpPr>
        <p:spPr>
          <a:xfrm>
            <a:off x="460375" y="5270500"/>
            <a:ext cx="11215688" cy="523875"/>
          </a:xfrm>
          <a:prstGeom prst="rect">
            <a:avLst/>
          </a:prstGeom>
          <a:solidFill>
            <a:schemeClr val="accent5"/>
          </a:solidFill>
        </p:spPr>
        <p:txBody>
          <a:bodyPr lIns="91438" tIns="45719" rIns="91438" bIns="45719">
            <a:spAutoFit/>
          </a:bodyPr>
          <a:lstStyle/>
          <a:p>
            <a:pPr algn="ctr" defTabSz="914354" fontAlgn="auto">
              <a:spcBef>
                <a:spcPts val="0"/>
              </a:spcBef>
              <a:spcAft>
                <a:spcPts val="0"/>
              </a:spcAft>
              <a:defRPr/>
            </a:pPr>
            <a:r>
              <a:rPr lang="en-US" altLang="zh-CN" sz="2800" b="1" dirty="0">
                <a:solidFill>
                  <a:srgbClr val="FFFFFF"/>
                </a:solidFill>
                <a:latin typeface="+mn-lt"/>
                <a:ea typeface="+mn-ea"/>
              </a:rPr>
              <a:t>2012</a:t>
            </a:r>
            <a:r>
              <a:rPr lang="zh-CN" altLang="en-US" sz="2800" b="1" dirty="0">
                <a:solidFill>
                  <a:srgbClr val="FFFFFF"/>
                </a:solidFill>
                <a:latin typeface="+mn-lt"/>
                <a:ea typeface="+mn-ea"/>
              </a:rPr>
              <a:t>年至今</a:t>
            </a:r>
            <a:r>
              <a:rPr lang="zh-CN" altLang="en-US" sz="2800" b="1" dirty="0">
                <a:solidFill>
                  <a:srgbClr val="FFFFFF"/>
                </a:solidFill>
                <a:latin typeface="+mn-lt"/>
                <a:ea typeface="+mn-ea"/>
              </a:rPr>
              <a:t>，调查</a:t>
            </a:r>
            <a:r>
              <a:rPr lang="zh-CN" altLang="en-US" sz="2800" b="1" dirty="0">
                <a:solidFill>
                  <a:srgbClr val="FFFFFF"/>
                </a:solidFill>
                <a:latin typeface="+mn-lt"/>
                <a:ea typeface="+mn-ea"/>
              </a:rPr>
              <a:t>的</a:t>
            </a:r>
            <a:r>
              <a:rPr lang="en-US" altLang="zh-CN" sz="2800" b="1" dirty="0">
                <a:solidFill>
                  <a:srgbClr val="FFFFFF"/>
                </a:solidFill>
                <a:latin typeface="+mn-lt"/>
                <a:ea typeface="+mn-ea"/>
              </a:rPr>
              <a:t>26</a:t>
            </a:r>
            <a:r>
              <a:rPr lang="zh-CN" altLang="en-US" sz="2800" b="1" dirty="0">
                <a:solidFill>
                  <a:srgbClr val="FFFFFF"/>
                </a:solidFill>
                <a:latin typeface="+mn-lt"/>
                <a:ea typeface="+mn-ea"/>
              </a:rPr>
              <a:t>个</a:t>
            </a:r>
            <a:r>
              <a:rPr lang="zh-CN" altLang="en-US" sz="2800" b="1" dirty="0">
                <a:solidFill>
                  <a:srgbClr val="FFFFFF"/>
                </a:solidFill>
                <a:latin typeface="+mn-lt"/>
                <a:ea typeface="+mn-ea"/>
              </a:rPr>
              <a:t>品类中有</a:t>
            </a:r>
            <a:r>
              <a:rPr lang="en-US" altLang="zh-CN" sz="2800" b="1" dirty="0">
                <a:solidFill>
                  <a:srgbClr val="FFFFFF"/>
                </a:solidFill>
                <a:latin typeface="+mn-lt"/>
                <a:ea typeface="+mn-ea"/>
              </a:rPr>
              <a:t>18</a:t>
            </a:r>
            <a:r>
              <a:rPr lang="zh-CN" altLang="en-US" sz="2800" b="1" dirty="0">
                <a:solidFill>
                  <a:srgbClr val="FFFFFF"/>
                </a:solidFill>
                <a:latin typeface="+mn-lt"/>
                <a:ea typeface="+mn-ea"/>
              </a:rPr>
              <a:t>个品类</a:t>
            </a:r>
            <a:r>
              <a:rPr lang="zh-CN" altLang="en-US" sz="2800" b="1" dirty="0">
                <a:solidFill>
                  <a:srgbClr val="FFFFFF"/>
                </a:solidFill>
                <a:latin typeface="+mn-lt"/>
                <a:ea typeface="+mn-ea"/>
              </a:rPr>
              <a:t>呈现不</a:t>
            </a:r>
            <a:r>
              <a:rPr lang="zh-CN" altLang="en-US" sz="2800" b="1" dirty="0">
                <a:solidFill>
                  <a:srgbClr val="FFFFFF"/>
                </a:solidFill>
                <a:latin typeface="+mn-lt"/>
                <a:ea typeface="+mn-ea"/>
              </a:rPr>
              <a:t>断高端化的</a:t>
            </a:r>
            <a:r>
              <a:rPr lang="zh-CN" altLang="en-US" sz="2800" b="1" dirty="0">
                <a:solidFill>
                  <a:srgbClr val="FFFFFF"/>
                </a:solidFill>
                <a:latin typeface="+mn-lt"/>
                <a:ea typeface="+mn-ea"/>
              </a:rPr>
              <a:t>趋势！</a:t>
            </a:r>
            <a:endParaRPr lang="zh-CN" altLang="en-US" sz="2800" b="1" dirty="0">
              <a:solidFill>
                <a:srgbClr val="FFFFFF"/>
              </a:solidFill>
              <a:latin typeface="+mn-lt"/>
              <a:ea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5"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1" name="灯片编号占位符 3"/>
          <p:cNvSpPr>
            <a:spLocks noGrp="1"/>
          </p:cNvSpPr>
          <p:nvPr>
            <p:ph type="sldNum" sz="quarter" idx="10"/>
          </p:nvPr>
        </p:nvSpPr>
        <p:spPr bwMode="auto">
          <a:noFill/>
          <a:ln>
            <a:miter lim="800000"/>
            <a:headEnd/>
            <a:tailEnd/>
          </a:ln>
        </p:spPr>
        <p:txBody>
          <a:bodyPr vert="horz" wrap="square" lIns="121917" tIns="60958" rIns="121917" bIns="60958" numCol="1" anchor="t" anchorCtr="0" compatLnSpc="1">
            <a:prstTxWarp prst="textNoShape">
              <a:avLst/>
            </a:prstTxWarp>
          </a:bodyPr>
          <a:lstStyle/>
          <a:p>
            <a:pPr defTabSz="912813" fontAlgn="base">
              <a:spcBef>
                <a:spcPct val="0"/>
              </a:spcBef>
              <a:spcAft>
                <a:spcPct val="0"/>
              </a:spcAft>
            </a:pPr>
            <a:fld id="{F599DB4C-59CC-4B6C-A4E4-01722980C09A}" type="slidenum">
              <a:rPr lang="zh-CN" altLang="en-US">
                <a:solidFill>
                  <a:srgbClr val="595959"/>
                </a:solidFill>
              </a:rPr>
              <a:pPr defTabSz="912813" fontAlgn="base">
                <a:spcBef>
                  <a:spcPct val="0"/>
                </a:spcBef>
                <a:spcAft>
                  <a:spcPct val="0"/>
                </a:spcAft>
              </a:pPr>
              <a:t>67</a:t>
            </a:fld>
            <a:endParaRPr lang="en-US" altLang="zh-CN">
              <a:solidFill>
                <a:srgbClr val="595959"/>
              </a:solidFill>
            </a:endParaRPr>
          </a:p>
        </p:txBody>
      </p:sp>
      <p:sp>
        <p:nvSpPr>
          <p:cNvPr id="9" name="标题 8"/>
          <p:cNvSpPr>
            <a:spLocks noGrp="1"/>
          </p:cNvSpPr>
          <p:nvPr>
            <p:ph type="title"/>
          </p:nvPr>
        </p:nvSpPr>
        <p:spPr>
          <a:xfrm>
            <a:off x="0" y="854075"/>
            <a:ext cx="10094913" cy="942975"/>
          </a:xfrm>
        </p:spPr>
        <p:txBody>
          <a:bodyPr lIns="121917" tIns="60958" rIns="121917" bIns="60958">
            <a:normAutofit fontScale="90000"/>
          </a:bodyPr>
          <a:lstStyle/>
          <a:p>
            <a:pPr defTabSz="914309" fontAlgn="auto">
              <a:spcAft>
                <a:spcPts val="0"/>
              </a:spcAft>
              <a:defRPr/>
            </a:pPr>
            <a:r>
              <a:rPr lang="zh-CN" altLang="en-US" sz="2900" dirty="0" smtClean="0"/>
              <a:t>消费升级和追求品质是中国市场刚需</a:t>
            </a:r>
            <a:r>
              <a:rPr lang="en-US" altLang="zh-CN" sz="2900" dirty="0" smtClean="0"/>
              <a:t/>
            </a:r>
            <a:br>
              <a:rPr lang="en-US" altLang="zh-CN" sz="2900" dirty="0" smtClean="0"/>
            </a:br>
            <a:r>
              <a:rPr lang="zh-CN" altLang="en-US" sz="3100" dirty="0" smtClean="0"/>
              <a:t>优质的品牌仍可获得消费者溢价购买</a:t>
            </a:r>
            <a:endParaRPr lang="zh-CN" altLang="en-US" sz="3100" dirty="0"/>
          </a:p>
        </p:txBody>
      </p:sp>
      <p:sp>
        <p:nvSpPr>
          <p:cNvPr id="133123" name="AutoShape 4" descr="http://www.cs.com.cn/tzjj/tjdh/201512/W020151204396805927035.png"/>
          <p:cNvSpPr>
            <a:spLocks noChangeAspect="1" noChangeArrowheads="1"/>
          </p:cNvSpPr>
          <p:nvPr/>
        </p:nvSpPr>
        <p:spPr bwMode="auto">
          <a:xfrm>
            <a:off x="155575" y="-144463"/>
            <a:ext cx="304800" cy="304801"/>
          </a:xfrm>
          <a:prstGeom prst="rect">
            <a:avLst/>
          </a:prstGeom>
          <a:noFill/>
          <a:ln w="9525">
            <a:noFill/>
            <a:miter lim="800000"/>
            <a:headEnd/>
            <a:tailEnd/>
          </a:ln>
        </p:spPr>
        <p:txBody>
          <a:bodyPr lIns="91420" tIns="45711" rIns="91420" bIns="45711"/>
          <a:lstStyle/>
          <a:p>
            <a:endParaRPr lang="zh-CN" altLang="en-US">
              <a:solidFill>
                <a:srgbClr val="000000"/>
              </a:solidFill>
              <a:latin typeface="Calibri Light"/>
              <a:ea typeface="微软雅黑" pitchFamily="34" charset="-122"/>
            </a:endParaRPr>
          </a:p>
        </p:txBody>
      </p:sp>
      <p:pic>
        <p:nvPicPr>
          <p:cNvPr id="133124" name="Picture 3"/>
          <p:cNvPicPr>
            <a:picLocks noChangeAspect="1" noChangeArrowheads="1"/>
          </p:cNvPicPr>
          <p:nvPr/>
        </p:nvPicPr>
        <p:blipFill>
          <a:blip r:embed="rId2"/>
          <a:srcRect/>
          <a:stretch>
            <a:fillRect/>
          </a:stretch>
        </p:blipFill>
        <p:spPr bwMode="auto">
          <a:xfrm>
            <a:off x="8496300" y="0"/>
            <a:ext cx="3744913" cy="6015038"/>
          </a:xfrm>
          <a:prstGeom prst="rect">
            <a:avLst/>
          </a:prstGeom>
          <a:noFill/>
          <a:ln w="9525">
            <a:noFill/>
            <a:miter lim="800000"/>
            <a:headEnd/>
            <a:tailEnd/>
          </a:ln>
        </p:spPr>
      </p:pic>
      <p:pic>
        <p:nvPicPr>
          <p:cNvPr id="133125" name="Picture 4"/>
          <p:cNvPicPr>
            <a:picLocks noChangeAspect="1" noChangeArrowheads="1"/>
          </p:cNvPicPr>
          <p:nvPr/>
        </p:nvPicPr>
        <p:blipFill>
          <a:blip r:embed="rId3"/>
          <a:srcRect/>
          <a:stretch>
            <a:fillRect/>
          </a:stretch>
        </p:blipFill>
        <p:spPr bwMode="auto">
          <a:xfrm>
            <a:off x="717550" y="1855788"/>
            <a:ext cx="5762625" cy="4254500"/>
          </a:xfrm>
          <a:prstGeom prst="rect">
            <a:avLst/>
          </a:prstGeom>
          <a:noFill/>
          <a:ln w="9525">
            <a:noFill/>
            <a:miter lim="800000"/>
            <a:headEnd/>
            <a:tailEnd/>
          </a:ln>
        </p:spPr>
      </p:pic>
      <p:sp>
        <p:nvSpPr>
          <p:cNvPr id="133126" name="Text Box 11"/>
          <p:cNvSpPr txBox="1">
            <a:spLocks noChangeArrowheads="1"/>
          </p:cNvSpPr>
          <p:nvPr/>
        </p:nvSpPr>
        <p:spPr bwMode="auto">
          <a:xfrm>
            <a:off x="5391150" y="6453188"/>
            <a:ext cx="5514975" cy="296862"/>
          </a:xfrm>
          <a:prstGeom prst="rect">
            <a:avLst/>
          </a:prstGeom>
          <a:noFill/>
          <a:ln w="9525">
            <a:noFill/>
            <a:miter lim="800000"/>
            <a:headEnd/>
            <a:tailEnd/>
          </a:ln>
        </p:spPr>
        <p:txBody>
          <a:bodyPr lIns="111107" tIns="55553" rIns="111107" bIns="55553">
            <a:spAutoFit/>
          </a:bodyPr>
          <a:lstStyle/>
          <a:p>
            <a:pPr algn="r">
              <a:spcBef>
                <a:spcPct val="50000"/>
              </a:spcBef>
            </a:pPr>
            <a:r>
              <a:rPr lang="zh-CN" altLang="en-US" sz="1200">
                <a:solidFill>
                  <a:srgbClr val="595959"/>
                </a:solidFill>
                <a:latin typeface="Calibri Light"/>
                <a:ea typeface="微软雅黑" pitchFamily="34" charset="-122"/>
                <a:cs typeface="Times New Roman" pitchFamily="18" charset="0"/>
              </a:rPr>
              <a:t>数据来源：</a:t>
            </a:r>
            <a:r>
              <a:rPr lang="en-US" altLang="zh-CN" sz="1200">
                <a:solidFill>
                  <a:srgbClr val="595959"/>
                </a:solidFill>
                <a:latin typeface="Calibri Light"/>
                <a:ea typeface="微软雅黑" pitchFamily="34" charset="-122"/>
                <a:cs typeface="Times New Roman" pitchFamily="18" charset="0"/>
              </a:rPr>
              <a:t>WPP BRANDZ  TOP100</a:t>
            </a:r>
            <a:r>
              <a:rPr lang="zh-CN" altLang="en-US" sz="1200">
                <a:solidFill>
                  <a:srgbClr val="595959"/>
                </a:solidFill>
                <a:latin typeface="Calibri Light"/>
                <a:ea typeface="微软雅黑" pitchFamily="34" charset="-122"/>
                <a:cs typeface="Times New Roman" pitchFamily="18" charset="0"/>
              </a:rPr>
              <a:t>研究报告</a:t>
            </a: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5" name="灯片编号占位符 3"/>
          <p:cNvSpPr>
            <a:spLocks noGrp="1"/>
          </p:cNvSpPr>
          <p:nvPr>
            <p:ph type="sldNum" sz="quarter" idx="10"/>
          </p:nvPr>
        </p:nvSpPr>
        <p:spPr bwMode="auto">
          <a:noFill/>
          <a:ln>
            <a:miter lim="800000"/>
            <a:headEnd/>
            <a:tailEnd/>
          </a:ln>
        </p:spPr>
        <p:txBody>
          <a:bodyPr vert="horz" wrap="square" lIns="121917" tIns="60958" rIns="121917" bIns="60958" numCol="1" anchor="t" anchorCtr="0" compatLnSpc="1">
            <a:prstTxWarp prst="textNoShape">
              <a:avLst/>
            </a:prstTxWarp>
          </a:bodyPr>
          <a:lstStyle/>
          <a:p>
            <a:pPr defTabSz="912813" fontAlgn="base">
              <a:spcBef>
                <a:spcPct val="0"/>
              </a:spcBef>
              <a:spcAft>
                <a:spcPct val="0"/>
              </a:spcAft>
            </a:pPr>
            <a:fld id="{62610D2B-9C24-41C9-81BA-6D8973732515}" type="slidenum">
              <a:rPr lang="zh-CN" altLang="en-US">
                <a:solidFill>
                  <a:srgbClr val="595959"/>
                </a:solidFill>
              </a:rPr>
              <a:pPr defTabSz="912813" fontAlgn="base">
                <a:spcBef>
                  <a:spcPct val="0"/>
                </a:spcBef>
                <a:spcAft>
                  <a:spcPct val="0"/>
                </a:spcAft>
              </a:pPr>
              <a:t>68</a:t>
            </a:fld>
            <a:endParaRPr lang="en-US" altLang="zh-CN">
              <a:solidFill>
                <a:srgbClr val="595959"/>
              </a:solidFill>
            </a:endParaRPr>
          </a:p>
        </p:txBody>
      </p:sp>
      <p:sp>
        <p:nvSpPr>
          <p:cNvPr id="134146" name="AutoShape 4" descr="http://www.cs.com.cn/tzjj/tjdh/201512/W020151204396805927035.png"/>
          <p:cNvSpPr>
            <a:spLocks noChangeAspect="1" noChangeArrowheads="1"/>
          </p:cNvSpPr>
          <p:nvPr/>
        </p:nvSpPr>
        <p:spPr bwMode="auto">
          <a:xfrm>
            <a:off x="155575" y="-144463"/>
            <a:ext cx="304800" cy="304801"/>
          </a:xfrm>
          <a:prstGeom prst="rect">
            <a:avLst/>
          </a:prstGeom>
          <a:noFill/>
          <a:ln w="9525">
            <a:noFill/>
            <a:miter lim="800000"/>
            <a:headEnd/>
            <a:tailEnd/>
          </a:ln>
        </p:spPr>
        <p:txBody>
          <a:bodyPr lIns="91420" tIns="45711" rIns="91420" bIns="45711"/>
          <a:lstStyle/>
          <a:p>
            <a:endParaRPr lang="zh-CN" altLang="en-US">
              <a:solidFill>
                <a:srgbClr val="000000"/>
              </a:solidFill>
              <a:latin typeface="Calibri Light"/>
              <a:ea typeface="微软雅黑" pitchFamily="34" charset="-122"/>
            </a:endParaRPr>
          </a:p>
        </p:txBody>
      </p:sp>
      <p:sp>
        <p:nvSpPr>
          <p:cNvPr id="134147" name="标题 8"/>
          <p:cNvSpPr txBox="1">
            <a:spLocks/>
          </p:cNvSpPr>
          <p:nvPr/>
        </p:nvSpPr>
        <p:spPr bwMode="auto">
          <a:xfrm>
            <a:off x="2638425" y="165100"/>
            <a:ext cx="11137900" cy="885825"/>
          </a:xfrm>
          <a:prstGeom prst="rect">
            <a:avLst/>
          </a:prstGeom>
          <a:noFill/>
          <a:ln w="9525">
            <a:noFill/>
            <a:miter lim="800000"/>
            <a:headEnd/>
            <a:tailEnd/>
          </a:ln>
        </p:spPr>
        <p:txBody>
          <a:bodyPr lIns="121914" tIns="60957" rIns="121914" bIns="60957" anchor="b"/>
          <a:lstStyle/>
          <a:p>
            <a:r>
              <a:rPr lang="zh-CN" altLang="en-US" sz="2100" b="1">
                <a:solidFill>
                  <a:srgbClr val="000000"/>
                </a:solidFill>
                <a:latin typeface="微软雅黑" pitchFamily="34" charset="-122"/>
                <a:ea typeface="微软雅黑" pitchFamily="34" charset="-122"/>
                <a:cs typeface="Times New Roman" pitchFamily="18" charset="0"/>
              </a:rPr>
              <a:t>哪群人在增加消费？ </a:t>
            </a:r>
            <a:r>
              <a:rPr lang="zh-CN" altLang="en-US" sz="3200" b="1">
                <a:solidFill>
                  <a:srgbClr val="000000"/>
                </a:solidFill>
                <a:latin typeface="微软雅黑" pitchFamily="34" charset="-122"/>
                <a:ea typeface="微软雅黑" pitchFamily="34" charset="-122"/>
                <a:cs typeface="Times New Roman" pitchFamily="18" charset="0"/>
              </a:rPr>
              <a:t>重视品质和个性的三高人群</a:t>
            </a:r>
            <a:endParaRPr lang="zh-CN" altLang="en-US" sz="2400" b="1">
              <a:solidFill>
                <a:srgbClr val="717171"/>
              </a:solidFill>
              <a:latin typeface="微软雅黑" pitchFamily="34" charset="-122"/>
              <a:ea typeface="微软雅黑" pitchFamily="34" charset="-122"/>
              <a:cs typeface="Times New Roman" pitchFamily="18" charset="0"/>
            </a:endParaRPr>
          </a:p>
        </p:txBody>
      </p:sp>
      <p:sp>
        <p:nvSpPr>
          <p:cNvPr id="9" name="矩形 8"/>
          <p:cNvSpPr/>
          <p:nvPr/>
        </p:nvSpPr>
        <p:spPr>
          <a:xfrm>
            <a:off x="6592888" y="1484313"/>
            <a:ext cx="3762375" cy="277812"/>
          </a:xfrm>
          <a:prstGeom prst="rect">
            <a:avLst/>
          </a:prstGeom>
          <a:noFill/>
          <a:ln w="25400" cap="flat" cmpd="sng" algn="ctr">
            <a:noFill/>
            <a:prstDash val="solid"/>
          </a:ln>
          <a:effectLst/>
        </p:spPr>
        <p:txBody>
          <a:bodyPr lIns="91438" tIns="45719" rIns="91438" bIns="45719" anchor="ctr"/>
          <a:lstStyle/>
          <a:p>
            <a:pPr marL="171446" indent="-171446" defTabSz="914377" fontAlgn="auto">
              <a:spcBef>
                <a:spcPts val="0"/>
              </a:spcBef>
              <a:spcAft>
                <a:spcPts val="0"/>
              </a:spcAft>
              <a:buFont typeface="Wingdings" panose="05000000000000000000" pitchFamily="2" charset="2"/>
              <a:buChar char="l"/>
              <a:defRPr/>
            </a:pPr>
            <a:r>
              <a:rPr lang="zh-CN" altLang="en-US" sz="1500" b="1" kern="0" dirty="0">
                <a:solidFill>
                  <a:srgbClr val="000000"/>
                </a:solidFill>
                <a:latin typeface="微软雅黑"/>
                <a:ea typeface="+mn-ea"/>
              </a:rPr>
              <a:t>他们更重品质，愿意付高价</a:t>
            </a:r>
          </a:p>
        </p:txBody>
      </p:sp>
      <p:sp>
        <p:nvSpPr>
          <p:cNvPr id="18" name="矩形 17"/>
          <p:cNvSpPr/>
          <p:nvPr/>
        </p:nvSpPr>
        <p:spPr>
          <a:xfrm>
            <a:off x="1001713" y="1557338"/>
            <a:ext cx="3744912" cy="179387"/>
          </a:xfrm>
          <a:prstGeom prst="rect">
            <a:avLst/>
          </a:prstGeom>
          <a:noFill/>
          <a:ln w="25400" cap="flat" cmpd="sng" algn="ctr">
            <a:noFill/>
            <a:prstDash val="solid"/>
          </a:ln>
          <a:effectLst/>
        </p:spPr>
        <p:txBody>
          <a:bodyPr lIns="91438" tIns="45719" rIns="91438" bIns="45719" anchor="ctr"/>
          <a:lstStyle/>
          <a:p>
            <a:pPr marL="285744" indent="-285744" defTabSz="914377" fontAlgn="auto">
              <a:spcBef>
                <a:spcPts val="0"/>
              </a:spcBef>
              <a:spcAft>
                <a:spcPts val="0"/>
              </a:spcAft>
              <a:buFont typeface="Wingdings" panose="05000000000000000000" pitchFamily="2" charset="2"/>
              <a:buChar char="l"/>
              <a:defRPr/>
            </a:pPr>
            <a:r>
              <a:rPr lang="zh-CN" altLang="en-US" sz="1500" b="1" kern="0" dirty="0">
                <a:solidFill>
                  <a:srgbClr val="000000"/>
                </a:solidFill>
                <a:latin typeface="微软雅黑"/>
                <a:ea typeface="+mn-ea"/>
              </a:rPr>
              <a:t>他们是高收入、高学历、高职位的群体</a:t>
            </a:r>
          </a:p>
        </p:txBody>
      </p:sp>
      <p:sp>
        <p:nvSpPr>
          <p:cNvPr id="25" name="矩形 24"/>
          <p:cNvSpPr/>
          <p:nvPr>
            <p:custDataLst>
              <p:tags r:id="rId2"/>
            </p:custDataLst>
          </p:nvPr>
        </p:nvSpPr>
        <p:spPr>
          <a:xfrm>
            <a:off x="6602413" y="4041775"/>
            <a:ext cx="3744912" cy="153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marL="285744" indent="-285744" defTabSz="914377" fontAlgn="auto">
              <a:spcBef>
                <a:spcPts val="0"/>
              </a:spcBef>
              <a:spcAft>
                <a:spcPts val="0"/>
              </a:spcAft>
              <a:buFont typeface="Wingdings" panose="05000000000000000000" pitchFamily="2" charset="2"/>
              <a:buChar char="l"/>
              <a:defRPr/>
            </a:pPr>
            <a:r>
              <a:rPr lang="zh-CN" altLang="en-US" sz="1500" b="1" dirty="0">
                <a:solidFill>
                  <a:srgbClr val="000000"/>
                </a:solidFill>
                <a:latin typeface="微软雅黑" panose="020B0503020204020204" pitchFamily="34" charset="-122"/>
              </a:rPr>
              <a:t>他们更接纳以用户为中心的产品服务</a:t>
            </a:r>
            <a:endParaRPr lang="zh-CN" altLang="en-US" sz="1500" b="1" dirty="0">
              <a:solidFill>
                <a:srgbClr val="000000"/>
              </a:solidFill>
              <a:latin typeface="微软雅黑" panose="020B0503020204020204" pitchFamily="34" charset="-122"/>
            </a:endParaRPr>
          </a:p>
        </p:txBody>
      </p:sp>
      <p:sp>
        <p:nvSpPr>
          <p:cNvPr id="134151" name="矩形 30"/>
          <p:cNvSpPr>
            <a:spLocks noChangeArrowheads="1"/>
          </p:cNvSpPr>
          <p:nvPr>
            <p:custDataLst>
              <p:tags r:id="rId3"/>
            </p:custDataLst>
          </p:nvPr>
        </p:nvSpPr>
        <p:spPr bwMode="auto">
          <a:xfrm>
            <a:off x="1001713" y="3898900"/>
            <a:ext cx="3744912" cy="438150"/>
          </a:xfrm>
          <a:prstGeom prst="rect">
            <a:avLst/>
          </a:prstGeom>
          <a:noFill/>
          <a:ln w="9525">
            <a:noFill/>
            <a:miter lim="800000"/>
            <a:headEnd/>
            <a:tailEnd/>
          </a:ln>
        </p:spPr>
        <p:txBody>
          <a:bodyPr lIns="91438" tIns="45719" rIns="91438" bIns="45719">
            <a:spAutoFit/>
          </a:bodyPr>
          <a:lstStyle/>
          <a:p>
            <a:pPr marL="284163" indent="-284163">
              <a:lnSpc>
                <a:spcPct val="150000"/>
              </a:lnSpc>
              <a:buFont typeface="Wingdings" pitchFamily="2" charset="2"/>
              <a:buChar char="l"/>
            </a:pPr>
            <a:r>
              <a:rPr lang="zh-CN" altLang="en-US" sz="1500" b="1">
                <a:solidFill>
                  <a:srgbClr val="000000"/>
                </a:solidFill>
                <a:latin typeface="微软雅黑" pitchFamily="34" charset="-122"/>
                <a:ea typeface="微软雅黑" pitchFamily="34" charset="-122"/>
              </a:rPr>
              <a:t>他们更重视创新与潮流（</a:t>
            </a:r>
            <a:r>
              <a:rPr lang="en-US" altLang="zh-CN" sz="1500" b="1">
                <a:solidFill>
                  <a:srgbClr val="000000"/>
                </a:solidFill>
                <a:latin typeface="微软雅黑" pitchFamily="34" charset="-122"/>
                <a:ea typeface="微软雅黑" pitchFamily="34" charset="-122"/>
              </a:rPr>
              <a:t>%</a:t>
            </a:r>
            <a:r>
              <a:rPr lang="zh-CN" altLang="en-US" sz="1500" b="1">
                <a:solidFill>
                  <a:srgbClr val="000000"/>
                </a:solidFill>
                <a:latin typeface="微软雅黑" pitchFamily="34" charset="-122"/>
                <a:ea typeface="微软雅黑" pitchFamily="34" charset="-122"/>
              </a:rPr>
              <a:t>）</a:t>
            </a:r>
          </a:p>
        </p:txBody>
      </p:sp>
      <p:sp>
        <p:nvSpPr>
          <p:cNvPr id="134152" name="矩形 37"/>
          <p:cNvSpPr>
            <a:spLocks noChangeArrowheads="1"/>
          </p:cNvSpPr>
          <p:nvPr/>
        </p:nvSpPr>
        <p:spPr bwMode="auto">
          <a:xfrm>
            <a:off x="6073775" y="6473825"/>
            <a:ext cx="4800600" cy="277813"/>
          </a:xfrm>
          <a:prstGeom prst="rect">
            <a:avLst/>
          </a:prstGeom>
          <a:noFill/>
          <a:ln w="9525">
            <a:noFill/>
            <a:miter lim="800000"/>
            <a:headEnd/>
            <a:tailEnd/>
          </a:ln>
        </p:spPr>
        <p:txBody>
          <a:bodyPr wrap="none" lIns="91438" tIns="45719" rIns="91438" bIns="45719">
            <a:spAutoFit/>
          </a:bodyPr>
          <a:lstStyle/>
          <a:p>
            <a:pPr algn="ctr" fontAlgn="ctr"/>
            <a:r>
              <a:rPr lang="zh-CN" altLang="en-US" sz="1200">
                <a:solidFill>
                  <a:srgbClr val="595959"/>
                </a:solidFill>
                <a:latin typeface="Calibri Light"/>
                <a:ea typeface="微软雅黑" pitchFamily="34" charset="-122"/>
                <a:cs typeface="Times New Roman" pitchFamily="18" charset="0"/>
              </a:rPr>
              <a:t>数据来源：  </a:t>
            </a:r>
            <a:r>
              <a:rPr lang="en-US" altLang="zh-CN" sz="1200">
                <a:solidFill>
                  <a:srgbClr val="595959"/>
                </a:solidFill>
                <a:latin typeface="Calibri Light"/>
                <a:ea typeface="微软雅黑" pitchFamily="34" charset="-122"/>
                <a:cs typeface="Times New Roman" pitchFamily="18" charset="0"/>
              </a:rPr>
              <a:t>CTR</a:t>
            </a:r>
            <a:r>
              <a:rPr lang="zh-CN" altLang="en-US" sz="1200">
                <a:solidFill>
                  <a:srgbClr val="595959"/>
                </a:solidFill>
                <a:latin typeface="Calibri Light"/>
                <a:ea typeface="微软雅黑" pitchFamily="34" charset="-122"/>
                <a:cs typeface="Times New Roman" pitchFamily="18" charset="0"/>
              </a:rPr>
              <a:t>中国城市居民调查</a:t>
            </a:r>
            <a:r>
              <a:rPr lang="en-US" altLang="zh-CN" sz="1200">
                <a:solidFill>
                  <a:srgbClr val="595959"/>
                </a:solidFill>
                <a:latin typeface="Calibri Light"/>
                <a:ea typeface="微软雅黑" pitchFamily="34" charset="-122"/>
                <a:cs typeface="Times New Roman" pitchFamily="18" charset="0"/>
              </a:rPr>
              <a:t>CNRS-TGI  2015 01-12 , 60</a:t>
            </a:r>
            <a:r>
              <a:rPr lang="zh-CN" altLang="en-US" sz="1200">
                <a:solidFill>
                  <a:srgbClr val="595959"/>
                </a:solidFill>
                <a:latin typeface="Calibri Light"/>
                <a:ea typeface="微软雅黑" pitchFamily="34" charset="-122"/>
                <a:cs typeface="Times New Roman" pitchFamily="18" charset="0"/>
              </a:rPr>
              <a:t>城市</a:t>
            </a:r>
          </a:p>
        </p:txBody>
      </p:sp>
      <p:graphicFrame>
        <p:nvGraphicFramePr>
          <p:cNvPr id="134153" name="图表 40"/>
          <p:cNvGraphicFramePr>
            <a:graphicFrameLocks/>
          </p:cNvGraphicFramePr>
          <p:nvPr/>
        </p:nvGraphicFramePr>
        <p:xfrm>
          <a:off x="409575" y="1631950"/>
          <a:ext cx="4672013" cy="2301875"/>
        </p:xfrm>
        <a:graphic>
          <a:graphicData uri="http://schemas.openxmlformats.org/presentationml/2006/ole">
            <p:oleObj spid="_x0000_s134153" r:id="rId5" imgW="4676037" imgH="2298391" progId="Excel.Chart.8">
              <p:embed/>
            </p:oleObj>
          </a:graphicData>
        </a:graphic>
      </p:graphicFrame>
      <p:graphicFrame>
        <p:nvGraphicFramePr>
          <p:cNvPr id="134154" name="图表 41"/>
          <p:cNvGraphicFramePr>
            <a:graphicFrameLocks/>
          </p:cNvGraphicFramePr>
          <p:nvPr/>
        </p:nvGraphicFramePr>
        <p:xfrm>
          <a:off x="2824163" y="1635125"/>
          <a:ext cx="4672012" cy="2303463"/>
        </p:xfrm>
        <a:graphic>
          <a:graphicData uri="http://schemas.openxmlformats.org/presentationml/2006/ole">
            <p:oleObj spid="_x0000_s134154" r:id="rId6" imgW="4676037" imgH="2304488" progId="Excel.Chart.8">
              <p:embed/>
            </p:oleObj>
          </a:graphicData>
        </a:graphic>
      </p:graphicFrame>
      <p:graphicFrame>
        <p:nvGraphicFramePr>
          <p:cNvPr id="134155" name="图表 48"/>
          <p:cNvGraphicFramePr>
            <a:graphicFrameLocks/>
          </p:cNvGraphicFramePr>
          <p:nvPr/>
        </p:nvGraphicFramePr>
        <p:xfrm>
          <a:off x="6542088" y="1611313"/>
          <a:ext cx="4672012" cy="2301875"/>
        </p:xfrm>
        <a:graphic>
          <a:graphicData uri="http://schemas.openxmlformats.org/presentationml/2006/ole">
            <p:oleObj spid="_x0000_s134155" r:id="rId7" imgW="4676037" imgH="2304488" progId="Excel.Chart.8">
              <p:embed/>
            </p:oleObj>
          </a:graphicData>
        </a:graphic>
      </p:graphicFrame>
      <p:graphicFrame>
        <p:nvGraphicFramePr>
          <p:cNvPr id="134156" name="图表 49"/>
          <p:cNvGraphicFramePr>
            <a:graphicFrameLocks/>
          </p:cNvGraphicFramePr>
          <p:nvPr/>
        </p:nvGraphicFramePr>
        <p:xfrm>
          <a:off x="644525" y="3981450"/>
          <a:ext cx="4565650" cy="2301875"/>
        </p:xfrm>
        <a:graphic>
          <a:graphicData uri="http://schemas.openxmlformats.org/presentationml/2006/ole">
            <p:oleObj spid="_x0000_s134156" r:id="rId8" imgW="4566300" imgH="2304488" progId="Excel.Chart.8">
              <p:embed/>
            </p:oleObj>
          </a:graphicData>
        </a:graphic>
      </p:graphicFrame>
      <p:graphicFrame>
        <p:nvGraphicFramePr>
          <p:cNvPr id="134157" name="图表 54"/>
          <p:cNvGraphicFramePr>
            <a:graphicFrameLocks/>
          </p:cNvGraphicFramePr>
          <p:nvPr/>
        </p:nvGraphicFramePr>
        <p:xfrm>
          <a:off x="6945313" y="4505325"/>
          <a:ext cx="1865312" cy="1658938"/>
        </p:xfrm>
        <a:graphic>
          <a:graphicData uri="http://schemas.openxmlformats.org/presentationml/2006/ole">
            <p:oleObj spid="_x0000_s134157" r:id="rId9" imgW="1865538" imgH="1658256" progId="Excel.Chart.8">
              <p:embed/>
            </p:oleObj>
          </a:graphicData>
        </a:graphic>
      </p:graphicFrame>
      <p:graphicFrame>
        <p:nvGraphicFramePr>
          <p:cNvPr id="134158" name="图表 55"/>
          <p:cNvGraphicFramePr>
            <a:graphicFrameLocks/>
          </p:cNvGraphicFramePr>
          <p:nvPr/>
        </p:nvGraphicFramePr>
        <p:xfrm>
          <a:off x="8540750" y="4505325"/>
          <a:ext cx="1865313" cy="1658938"/>
        </p:xfrm>
        <a:graphic>
          <a:graphicData uri="http://schemas.openxmlformats.org/presentationml/2006/ole">
            <p:oleObj spid="_x0000_s134158" r:id="rId10" imgW="1865538" imgH="1658256" progId="Excel.Chart.8">
              <p:embed/>
            </p:oleObj>
          </a:graphicData>
        </a:graphic>
      </p:graphicFrame>
      <p:sp>
        <p:nvSpPr>
          <p:cNvPr id="134159" name="文本框 56"/>
          <p:cNvSpPr txBox="1">
            <a:spLocks noChangeArrowheads="1"/>
          </p:cNvSpPr>
          <p:nvPr/>
        </p:nvSpPr>
        <p:spPr bwMode="auto">
          <a:xfrm>
            <a:off x="6853238" y="4437063"/>
            <a:ext cx="4627562" cy="261937"/>
          </a:xfrm>
          <a:prstGeom prst="rect">
            <a:avLst/>
          </a:prstGeom>
          <a:noFill/>
          <a:ln w="9525">
            <a:noFill/>
            <a:miter lim="800000"/>
            <a:headEnd/>
            <a:tailEnd/>
          </a:ln>
        </p:spPr>
        <p:txBody>
          <a:bodyPr wrap="none" lIns="91438" tIns="45719" rIns="91438" bIns="45719">
            <a:spAutoFit/>
          </a:bodyPr>
          <a:lstStyle/>
          <a:p>
            <a:r>
              <a:rPr lang="zh-CN" altLang="en-US" sz="1100">
                <a:solidFill>
                  <a:srgbClr val="000000"/>
                </a:solidFill>
                <a:latin typeface="Calibri Light"/>
                <a:ea typeface="微软雅黑" pitchFamily="34" charset="-122"/>
              </a:rPr>
              <a:t>同意“我经常试着去改装买来的产品</a:t>
            </a:r>
            <a:r>
              <a:rPr lang="en-US" altLang="zh-CN" sz="1100">
                <a:solidFill>
                  <a:srgbClr val="000000"/>
                </a:solidFill>
                <a:latin typeface="Calibri Light"/>
                <a:ea typeface="微软雅黑" pitchFamily="34" charset="-122"/>
              </a:rPr>
              <a:t>,</a:t>
            </a:r>
            <a:r>
              <a:rPr lang="zh-CN" altLang="en-US" sz="1100">
                <a:solidFill>
                  <a:srgbClr val="000000"/>
                </a:solidFill>
                <a:latin typeface="Calibri Light"/>
                <a:ea typeface="微软雅黑" pitchFamily="34" charset="-122"/>
              </a:rPr>
              <a:t>使它更符合我个人的品味和需求”</a:t>
            </a: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57213" y="260350"/>
            <a:ext cx="11077575" cy="9448800"/>
          </a:xfrm>
          <a:prstGeom prst="rect">
            <a:avLst/>
          </a:prstGeom>
          <a:noFill/>
        </p:spPr>
        <p:txBody>
          <a:bodyPr>
            <a:spAutoFit/>
          </a:bodyPr>
          <a:lstStyle>
            <a:defPPr>
              <a:defRPr lang="zh-CN"/>
            </a:defPPr>
            <a:lvl1pPr algn="ctr">
              <a:defRPr sz="4400">
                <a:solidFill>
                  <a:srgbClr val="0033CC"/>
                </a:solidFill>
                <a:effectLst>
                  <a:outerShdw blurRad="50800" dist="38100" dir="2700000" algn="tl" rotWithShape="0">
                    <a:prstClr val="black">
                      <a:alpha val="40000"/>
                    </a:prstClr>
                  </a:outerShdw>
                </a:effectLst>
                <a:latin typeface="华文楷体" panose="02010600040101010101" pitchFamily="2" charset="-122"/>
                <a:ea typeface="华文楷体" panose="02010600040101010101" pitchFamily="2" charset="-122"/>
              </a:defRPr>
            </a:lvl1pPr>
          </a:lstStyle>
          <a:p>
            <a:pPr defTabSz="914377" fontAlgn="auto">
              <a:lnSpc>
                <a:spcPct val="200000"/>
              </a:lnSpc>
              <a:spcBef>
                <a:spcPts val="0"/>
              </a:spcBef>
              <a:spcAft>
                <a:spcPts val="0"/>
              </a:spcAft>
              <a:defRPr/>
            </a:pPr>
            <a:r>
              <a:rPr lang="zh-CN" altLang="en-US" sz="3600" b="1" dirty="0" smtClean="0">
                <a:solidFill>
                  <a:srgbClr val="FF0000"/>
                </a:solidFill>
              </a:rPr>
              <a:t>什么是消费升级的原点人群？</a:t>
            </a:r>
            <a:endParaRPr lang="en-US" altLang="zh-CN" sz="3600" b="1" dirty="0" smtClean="0">
              <a:solidFill>
                <a:srgbClr val="FF0000"/>
              </a:solidFill>
            </a:endParaRPr>
          </a:p>
          <a:p>
            <a:pPr defTabSz="914377" fontAlgn="auto">
              <a:lnSpc>
                <a:spcPct val="200000"/>
              </a:lnSpc>
              <a:spcBef>
                <a:spcPts val="0"/>
              </a:spcBef>
              <a:spcAft>
                <a:spcPts val="0"/>
              </a:spcAft>
              <a:defRPr/>
            </a:pPr>
            <a:r>
              <a:rPr lang="en-US" altLang="zh-CN" sz="3600" b="1" dirty="0" smtClean="0">
                <a:solidFill>
                  <a:srgbClr val="FF0000"/>
                </a:solidFill>
              </a:rPr>
              <a:t>20-45</a:t>
            </a:r>
            <a:r>
              <a:rPr lang="zh-CN" altLang="en-US" sz="3600" b="1" dirty="0" smtClean="0">
                <a:solidFill>
                  <a:srgbClr val="FF0000"/>
                </a:solidFill>
              </a:rPr>
              <a:t>岁高品质、追逐潮流、愿意分享</a:t>
            </a:r>
            <a:endParaRPr lang="en-US" altLang="zh-CN" sz="3600" b="1" dirty="0" smtClean="0">
              <a:solidFill>
                <a:srgbClr val="FF0000"/>
              </a:solidFill>
            </a:endParaRPr>
          </a:p>
          <a:p>
            <a:pPr defTabSz="914377" fontAlgn="auto">
              <a:lnSpc>
                <a:spcPct val="200000"/>
              </a:lnSpc>
              <a:spcBef>
                <a:spcPts val="0"/>
              </a:spcBef>
              <a:spcAft>
                <a:spcPts val="0"/>
              </a:spcAft>
              <a:defRPr/>
            </a:pPr>
            <a:r>
              <a:rPr lang="zh-CN" altLang="en-US" sz="3600" b="1" dirty="0" smtClean="0">
                <a:solidFill>
                  <a:srgbClr val="FF0000"/>
                </a:solidFill>
              </a:rPr>
              <a:t>今天中国</a:t>
            </a:r>
            <a:r>
              <a:rPr lang="en-US" altLang="zh-CN" sz="3600" b="1" dirty="0" smtClean="0">
                <a:solidFill>
                  <a:srgbClr val="FF0000"/>
                </a:solidFill>
              </a:rPr>
              <a:t>2.25</a:t>
            </a:r>
            <a:r>
              <a:rPr lang="zh-CN" altLang="en-US" sz="3600" b="1" dirty="0" smtClean="0">
                <a:solidFill>
                  <a:srgbClr val="FF0000"/>
                </a:solidFill>
              </a:rPr>
              <a:t>亿中产</a:t>
            </a:r>
            <a:r>
              <a:rPr lang="en-US" altLang="zh-CN" sz="3600" b="1" dirty="0" smtClean="0">
                <a:solidFill>
                  <a:srgbClr val="FF0000"/>
                </a:solidFill>
              </a:rPr>
              <a:t>2020</a:t>
            </a:r>
            <a:r>
              <a:rPr lang="zh-CN" altLang="en-US" sz="3600" b="1" dirty="0" smtClean="0">
                <a:solidFill>
                  <a:srgbClr val="FF0000"/>
                </a:solidFill>
              </a:rPr>
              <a:t>年中国</a:t>
            </a:r>
            <a:r>
              <a:rPr lang="en-US" altLang="zh-CN" sz="3600" b="1" dirty="0" smtClean="0">
                <a:solidFill>
                  <a:srgbClr val="FF0000"/>
                </a:solidFill>
              </a:rPr>
              <a:t>5</a:t>
            </a:r>
            <a:r>
              <a:rPr lang="zh-CN" altLang="en-US" sz="3600" b="1" dirty="0" smtClean="0">
                <a:solidFill>
                  <a:srgbClr val="FF0000"/>
                </a:solidFill>
              </a:rPr>
              <a:t>亿中产</a:t>
            </a:r>
            <a:endParaRPr lang="en-US" altLang="zh-CN" sz="3600" b="1" dirty="0" smtClean="0">
              <a:solidFill>
                <a:srgbClr val="FF0000"/>
              </a:solidFill>
            </a:endParaRPr>
          </a:p>
          <a:p>
            <a:pPr defTabSz="914377" fontAlgn="auto">
              <a:lnSpc>
                <a:spcPct val="200000"/>
              </a:lnSpc>
              <a:spcBef>
                <a:spcPts val="0"/>
              </a:spcBef>
              <a:spcAft>
                <a:spcPts val="0"/>
              </a:spcAft>
              <a:defRPr/>
            </a:pPr>
            <a:r>
              <a:rPr lang="en-US" altLang="zh-CN" b="1" dirty="0" smtClean="0">
                <a:solidFill>
                  <a:schemeClr val="tx1"/>
                </a:solidFill>
              </a:rPr>
              <a:t>《</a:t>
            </a:r>
            <a:r>
              <a:rPr lang="zh-CN" altLang="en-US" b="1" dirty="0" smtClean="0">
                <a:solidFill>
                  <a:schemeClr val="tx1"/>
                </a:solidFill>
              </a:rPr>
              <a:t>经济学人</a:t>
            </a:r>
            <a:r>
              <a:rPr lang="en-US" altLang="zh-CN" b="1" dirty="0" smtClean="0">
                <a:solidFill>
                  <a:schemeClr val="tx1"/>
                </a:solidFill>
              </a:rPr>
              <a:t>》</a:t>
            </a:r>
            <a:r>
              <a:rPr lang="zh-CN" altLang="en-US" b="1" dirty="0" smtClean="0">
                <a:solidFill>
                  <a:schemeClr val="tx1"/>
                </a:solidFill>
              </a:rPr>
              <a:t>杂志</a:t>
            </a:r>
            <a:endParaRPr lang="en-US" altLang="zh-CN" b="1" dirty="0" smtClean="0">
              <a:solidFill>
                <a:schemeClr val="tx1"/>
              </a:solidFill>
            </a:endParaRPr>
          </a:p>
          <a:p>
            <a:pPr defTabSz="914377" fontAlgn="auto">
              <a:lnSpc>
                <a:spcPct val="200000"/>
              </a:lnSpc>
              <a:spcBef>
                <a:spcPts val="0"/>
              </a:spcBef>
              <a:spcAft>
                <a:spcPts val="0"/>
              </a:spcAft>
              <a:defRPr/>
            </a:pPr>
            <a:r>
              <a:rPr lang="zh-CN" altLang="en-US" b="1" dirty="0" smtClean="0">
                <a:solidFill>
                  <a:schemeClr val="tx1"/>
                </a:solidFill>
              </a:rPr>
              <a:t>年收入</a:t>
            </a:r>
            <a:r>
              <a:rPr lang="en-US" altLang="zh-CN" b="1" dirty="0" smtClean="0">
                <a:solidFill>
                  <a:schemeClr val="tx1"/>
                </a:solidFill>
              </a:rPr>
              <a:t>10</a:t>
            </a:r>
            <a:r>
              <a:rPr lang="zh-CN" altLang="en-US" b="1" dirty="0" smtClean="0">
                <a:solidFill>
                  <a:schemeClr val="tx1"/>
                </a:solidFill>
              </a:rPr>
              <a:t>万</a:t>
            </a:r>
            <a:r>
              <a:rPr lang="en-US" altLang="zh-CN" b="1" dirty="0" smtClean="0">
                <a:solidFill>
                  <a:schemeClr val="tx1"/>
                </a:solidFill>
              </a:rPr>
              <a:t>-50</a:t>
            </a:r>
            <a:r>
              <a:rPr lang="zh-CN" altLang="en-US" b="1" dirty="0" smtClean="0">
                <a:solidFill>
                  <a:schemeClr val="tx1"/>
                </a:solidFill>
              </a:rPr>
              <a:t>万</a:t>
            </a:r>
            <a:endParaRPr lang="en-US" altLang="zh-CN" b="1" dirty="0" smtClean="0">
              <a:solidFill>
                <a:schemeClr val="tx1"/>
              </a:solidFill>
            </a:endParaRPr>
          </a:p>
          <a:p>
            <a:pPr defTabSz="914377" fontAlgn="auto">
              <a:lnSpc>
                <a:spcPct val="200000"/>
              </a:lnSpc>
              <a:spcBef>
                <a:spcPts val="0"/>
              </a:spcBef>
              <a:spcAft>
                <a:spcPts val="0"/>
              </a:spcAft>
              <a:defRPr/>
            </a:pPr>
            <a:endParaRPr lang="en-US" altLang="zh-CN" b="1" dirty="0" smtClean="0">
              <a:solidFill>
                <a:schemeClr val="tx1"/>
              </a:solidFill>
            </a:endParaRPr>
          </a:p>
          <a:p>
            <a:pPr defTabSz="914377" fontAlgn="auto">
              <a:lnSpc>
                <a:spcPct val="200000"/>
              </a:lnSpc>
              <a:spcBef>
                <a:spcPts val="0"/>
              </a:spcBef>
              <a:spcAft>
                <a:spcPts val="0"/>
              </a:spcAft>
              <a:defRPr/>
            </a:pPr>
            <a:endParaRPr lang="zh-CN" altLang="en-US" sz="3200" dirty="0" smtClean="0">
              <a:effectLst>
                <a:outerShdw blurRad="38100" dist="38100" dir="2700000" algn="tl">
                  <a:srgbClr val="000000">
                    <a:alpha val="43137"/>
                  </a:srgbClr>
                </a:outerShdw>
              </a:effectLst>
            </a:endParaRPr>
          </a:p>
          <a:p>
            <a:pPr defTabSz="914377" fontAlgn="auto">
              <a:lnSpc>
                <a:spcPct val="200000"/>
              </a:lnSpc>
              <a:spcBef>
                <a:spcPts val="0"/>
              </a:spcBef>
              <a:spcAft>
                <a:spcPts val="0"/>
              </a:spcAft>
              <a:defRPr/>
            </a:pPr>
            <a:endParaRPr lang="en-US" altLang="zh-CN" sz="3200" dirty="0" smtClean="0">
              <a:solidFill>
                <a:srgbClr val="FF0000"/>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txBox="1">
            <a:spLocks noChangeAspect="1"/>
          </p:cNvSpPr>
          <p:nvPr/>
        </p:nvSpPr>
        <p:spPr bwMode="auto">
          <a:xfrm>
            <a:off x="163513" y="268288"/>
            <a:ext cx="11845925" cy="646112"/>
          </a:xfrm>
          <a:prstGeom prst="rect">
            <a:avLst/>
          </a:prstGeom>
          <a:noFill/>
          <a:ln>
            <a:noFill/>
          </a:ln>
          <a:extLst>
            <a:ext uri="{909E8E84-426E-40DD-AFC4-6F175D3DCCD1}"/>
            <a:ext uri="{91240B29-F687-4F45-9708-019B960494DF}"/>
          </a:extLst>
        </p:spPr>
        <p:txBody>
          <a:bodyPr lIns="91438" tIns="45719" rIns="91438" bIns="45719" anchor="b">
            <a:spAutoFit/>
          </a:bodyPr>
          <a:lstStyle>
            <a:lvl1pPr eaLnBrk="0" hangingPunct="0">
              <a:lnSpc>
                <a:spcPct val="100000"/>
              </a:lnSpc>
              <a:defRPr kumimoji="1" sz="4000">
                <a:solidFill>
                  <a:schemeClr val="tx2"/>
                </a:solidFill>
                <a:latin typeface="微软雅黑" pitchFamily="34" charset="-122"/>
                <a:ea typeface="微软雅黑" pitchFamily="34" charset="-122"/>
                <a:cs typeface="+mj-cs"/>
              </a:defRPr>
            </a:lvl1pPr>
            <a:lvl2pPr algn="ctr" eaLnBrk="0" hangingPunct="0">
              <a:defRPr kumimoji="1" sz="4400">
                <a:solidFill>
                  <a:schemeClr val="tx2"/>
                </a:solidFill>
                <a:latin typeface="Arial" charset="0"/>
              </a:defRPr>
            </a:lvl2pPr>
            <a:lvl3pPr algn="ctr" eaLnBrk="0" hangingPunct="0">
              <a:defRPr kumimoji="1" sz="4400">
                <a:solidFill>
                  <a:schemeClr val="tx2"/>
                </a:solidFill>
                <a:latin typeface="Arial" charset="0"/>
              </a:defRPr>
            </a:lvl3pPr>
            <a:lvl4pPr algn="ctr" eaLnBrk="0" hangingPunct="0">
              <a:defRPr kumimoji="1" sz="4400">
                <a:solidFill>
                  <a:schemeClr val="tx2"/>
                </a:solidFill>
                <a:latin typeface="Arial" charset="0"/>
              </a:defRPr>
            </a:lvl4pPr>
            <a:lvl5pPr algn="ctr" eaLnBrk="0" hangingPunct="0">
              <a:defRPr kumimoji="1" sz="4400">
                <a:solidFill>
                  <a:schemeClr val="tx2"/>
                </a:solidFill>
                <a:latin typeface="Arial" charset="0"/>
              </a:defRPr>
            </a:lvl5pPr>
            <a:lvl6pPr marL="457200" algn="ctr" eaLnBrk="0" fontAlgn="base" hangingPunct="0">
              <a:spcBef>
                <a:spcPct val="0"/>
              </a:spcBef>
              <a:spcAft>
                <a:spcPct val="0"/>
              </a:spcAft>
              <a:defRPr kumimoji="1" sz="4400">
                <a:solidFill>
                  <a:schemeClr val="tx2"/>
                </a:solidFill>
                <a:latin typeface="Arial" charset="0"/>
              </a:defRPr>
            </a:lvl6pPr>
            <a:lvl7pPr marL="914400" algn="ctr" eaLnBrk="0" fontAlgn="base" hangingPunct="0">
              <a:spcBef>
                <a:spcPct val="0"/>
              </a:spcBef>
              <a:spcAft>
                <a:spcPct val="0"/>
              </a:spcAft>
              <a:defRPr kumimoji="1" sz="4400">
                <a:solidFill>
                  <a:schemeClr val="tx2"/>
                </a:solidFill>
                <a:latin typeface="Arial" charset="0"/>
              </a:defRPr>
            </a:lvl7pPr>
            <a:lvl8pPr marL="1371600" algn="ctr" eaLnBrk="0" fontAlgn="base" hangingPunct="0">
              <a:spcBef>
                <a:spcPct val="0"/>
              </a:spcBef>
              <a:spcAft>
                <a:spcPct val="0"/>
              </a:spcAft>
              <a:defRPr kumimoji="1" sz="4400">
                <a:solidFill>
                  <a:schemeClr val="tx2"/>
                </a:solidFill>
                <a:latin typeface="Arial" charset="0"/>
              </a:defRPr>
            </a:lvl8pPr>
            <a:lvl9pPr marL="1828800" algn="ctr" eaLnBrk="0" fontAlgn="base" hangingPunct="0">
              <a:spcBef>
                <a:spcPct val="0"/>
              </a:spcBef>
              <a:spcAft>
                <a:spcPct val="0"/>
              </a:spcAft>
              <a:defRPr kumimoji="1" sz="4400">
                <a:solidFill>
                  <a:schemeClr val="tx2"/>
                </a:solidFill>
                <a:latin typeface="Arial" charset="0"/>
              </a:defRPr>
            </a:lvl9pPr>
          </a:lstStyle>
          <a:p>
            <a:pPr algn="ctr" defTabSz="914377" fontAlgn="auto">
              <a:spcBef>
                <a:spcPts val="0"/>
              </a:spcBef>
              <a:spcAft>
                <a:spcPts val="0"/>
              </a:spcAft>
              <a:defRPr/>
            </a:pPr>
            <a:r>
              <a:rPr lang="zh-CN" altLang="en-US" sz="3600" b="1" dirty="0" smtClean="0">
                <a:effectLst>
                  <a:outerShdw blurRad="50800" dist="38100" dir="8100000" algn="tr" rotWithShape="0">
                    <a:prstClr val="black">
                      <a:alpha val="40000"/>
                    </a:prstClr>
                  </a:outerShdw>
                </a:effectLst>
                <a:latin typeface="+mj-ea"/>
                <a:ea typeface="+mj-ea"/>
              </a:rPr>
              <a:t>要么封杀品类，要么占据特性</a:t>
            </a:r>
            <a:endParaRPr lang="zh-CN" altLang="en-US" sz="3600" b="1" dirty="0">
              <a:effectLst>
                <a:outerShdw blurRad="50800" dist="38100" dir="8100000" algn="tr" rotWithShape="0">
                  <a:prstClr val="black">
                    <a:alpha val="40000"/>
                  </a:prstClr>
                </a:outerShdw>
              </a:effectLst>
              <a:latin typeface="+mj-ea"/>
              <a:ea typeface="+mj-ea"/>
            </a:endParaRPr>
          </a:p>
        </p:txBody>
      </p:sp>
      <p:grpSp>
        <p:nvGrpSpPr>
          <p:cNvPr id="6" name="组合 77"/>
          <p:cNvGrpSpPr>
            <a:grpSpLocks/>
          </p:cNvGrpSpPr>
          <p:nvPr/>
        </p:nvGrpSpPr>
        <p:grpSpPr bwMode="auto">
          <a:xfrm>
            <a:off x="212725" y="1487488"/>
            <a:ext cx="11766550" cy="850900"/>
            <a:chOff x="243337" y="2884051"/>
            <a:chExt cx="11766695" cy="851875"/>
          </a:xfrm>
        </p:grpSpPr>
        <p:grpSp>
          <p:nvGrpSpPr>
            <p:cNvPr id="40981" name="组合 72"/>
            <p:cNvGrpSpPr>
              <a:grpSpLocks/>
            </p:cNvGrpSpPr>
            <p:nvPr/>
          </p:nvGrpSpPr>
          <p:grpSpPr bwMode="auto">
            <a:xfrm>
              <a:off x="243337" y="2884051"/>
              <a:ext cx="2151702" cy="830138"/>
              <a:chOff x="243337" y="2884051"/>
              <a:chExt cx="2151702" cy="830138"/>
            </a:xfrm>
          </p:grpSpPr>
          <p:grpSp>
            <p:nvGrpSpPr>
              <p:cNvPr id="41006" name="组合 43"/>
              <p:cNvGrpSpPr>
                <a:grpSpLocks/>
              </p:cNvGrpSpPr>
              <p:nvPr/>
            </p:nvGrpSpPr>
            <p:grpSpPr bwMode="auto">
              <a:xfrm>
                <a:off x="243337" y="2884051"/>
                <a:ext cx="2151702" cy="830138"/>
                <a:chOff x="243337" y="2810269"/>
                <a:chExt cx="2151702" cy="830138"/>
              </a:xfrm>
            </p:grpSpPr>
            <p:sp>
              <p:nvSpPr>
                <p:cNvPr id="14" name="矩形 13"/>
                <p:cNvSpPr/>
                <p:nvPr/>
              </p:nvSpPr>
              <p:spPr>
                <a:xfrm>
                  <a:off x="243337" y="2810269"/>
                  <a:ext cx="2133627" cy="8296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endParaRPr lang="zh-CN" altLang="en-US"/>
                </a:p>
              </p:txBody>
            </p:sp>
            <p:sp>
              <p:nvSpPr>
                <p:cNvPr id="35" name="文本框 34"/>
                <p:cNvSpPr txBox="1"/>
                <p:nvPr/>
              </p:nvSpPr>
              <p:spPr>
                <a:xfrm>
                  <a:off x="1519703" y="2999397"/>
                  <a:ext cx="874724" cy="451367"/>
                </a:xfrm>
                <a:prstGeom prst="rect">
                  <a:avLst/>
                </a:prstGeom>
                <a:noFill/>
              </p:spPr>
              <p:txBody>
                <a:bodyPr>
                  <a:spAutoFit/>
                </a:bodyPr>
                <a:lstStyle/>
                <a:p>
                  <a:pPr algn="ctr" defTabSz="914377" fontAlgn="auto">
                    <a:lnSpc>
                      <a:spcPct val="130000"/>
                    </a:lnSpc>
                    <a:spcBef>
                      <a:spcPts val="0"/>
                    </a:spcBef>
                    <a:spcAft>
                      <a:spcPts val="0"/>
                    </a:spcAft>
                    <a:defRPr/>
                  </a:pPr>
                  <a:r>
                    <a:rPr lang="zh-CN" altLang="en-US" b="1" dirty="0">
                      <a:solidFill>
                        <a:schemeClr val="bg1">
                          <a:lumMod val="75000"/>
                        </a:schemeClr>
                      </a:solidFill>
                      <a:latin typeface="Arial" panose="020B0604020202020204" pitchFamily="34" charset="0"/>
                      <a:ea typeface="微软雅黑" panose="020B0503020204020204" pitchFamily="34" charset="-122"/>
                    </a:rPr>
                    <a:t>电商</a:t>
                  </a:r>
                </a:p>
              </p:txBody>
            </p:sp>
            <p:sp>
              <p:nvSpPr>
                <p:cNvPr id="43" name="KSO_Shape"/>
                <p:cNvSpPr/>
                <p:nvPr/>
              </p:nvSpPr>
              <p:spPr>
                <a:xfrm>
                  <a:off x="1297450" y="3066149"/>
                  <a:ext cx="376243" cy="309918"/>
                </a:xfrm>
                <a:prstGeom prst="mathEqual">
                  <a:avLst>
                    <a:gd name="adj1" fmla="val 13987"/>
                    <a:gd name="adj2" fmla="val 11760"/>
                  </a:avLst>
                </a:prstGeom>
                <a:solidFill>
                  <a:srgbClr val="CD202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377" eaLnBrk="1" fontAlgn="auto" hangingPunct="1">
                    <a:spcBef>
                      <a:spcPts val="0"/>
                    </a:spcBef>
                    <a:spcAft>
                      <a:spcPts val="0"/>
                    </a:spcAft>
                    <a:defRPr/>
                  </a:pPr>
                  <a:endParaRPr lang="zh-CN" altLang="en-US" dirty="0">
                    <a:solidFill>
                      <a:srgbClr val="FFFFFF"/>
                    </a:solidFill>
                  </a:endParaRPr>
                </a:p>
              </p:txBody>
            </p:sp>
          </p:grpSp>
          <p:pic>
            <p:nvPicPr>
              <p:cNvPr id="41007" name="图片 2"/>
              <p:cNvPicPr>
                <a:picLocks noChangeAspect="1"/>
              </p:cNvPicPr>
              <p:nvPr/>
            </p:nvPicPr>
            <p:blipFill>
              <a:blip r:embed="rId2"/>
              <a:srcRect/>
              <a:stretch>
                <a:fillRect/>
              </a:stretch>
            </p:blipFill>
            <p:spPr bwMode="auto">
              <a:xfrm>
                <a:off x="348171" y="3046135"/>
                <a:ext cx="903882" cy="505971"/>
              </a:xfrm>
              <a:prstGeom prst="rect">
                <a:avLst/>
              </a:prstGeom>
              <a:noFill/>
              <a:ln w="9525">
                <a:noFill/>
                <a:miter lim="800000"/>
                <a:headEnd/>
                <a:tailEnd/>
              </a:ln>
            </p:spPr>
          </p:pic>
        </p:grpSp>
        <p:grpSp>
          <p:nvGrpSpPr>
            <p:cNvPr id="40982" name="组合 73"/>
            <p:cNvGrpSpPr>
              <a:grpSpLocks/>
            </p:cNvGrpSpPr>
            <p:nvPr/>
          </p:nvGrpSpPr>
          <p:grpSpPr bwMode="auto">
            <a:xfrm>
              <a:off x="2647085" y="2884051"/>
              <a:ext cx="2151696" cy="830138"/>
              <a:chOff x="2647085" y="2884051"/>
              <a:chExt cx="2151696" cy="830138"/>
            </a:xfrm>
          </p:grpSpPr>
          <p:grpSp>
            <p:nvGrpSpPr>
              <p:cNvPr id="41001" name="组合 44"/>
              <p:cNvGrpSpPr>
                <a:grpSpLocks/>
              </p:cNvGrpSpPr>
              <p:nvPr/>
            </p:nvGrpSpPr>
            <p:grpSpPr bwMode="auto">
              <a:xfrm>
                <a:off x="2647085" y="2884051"/>
                <a:ext cx="2151696" cy="830138"/>
                <a:chOff x="243337" y="2810269"/>
                <a:chExt cx="2151696" cy="830138"/>
              </a:xfrm>
            </p:grpSpPr>
            <p:sp>
              <p:nvSpPr>
                <p:cNvPr id="46" name="矩形 45"/>
                <p:cNvSpPr/>
                <p:nvPr/>
              </p:nvSpPr>
              <p:spPr>
                <a:xfrm>
                  <a:off x="243094" y="2810269"/>
                  <a:ext cx="2135215" cy="8296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endParaRPr lang="zh-CN" altLang="en-US"/>
                </a:p>
              </p:txBody>
            </p:sp>
            <p:sp>
              <p:nvSpPr>
                <p:cNvPr id="47" name="文本框 46"/>
                <p:cNvSpPr txBox="1"/>
                <p:nvPr/>
              </p:nvSpPr>
              <p:spPr>
                <a:xfrm>
                  <a:off x="1521048" y="2896092"/>
                  <a:ext cx="874723" cy="700889"/>
                </a:xfrm>
                <a:prstGeom prst="rect">
                  <a:avLst/>
                </a:prstGeom>
                <a:noFill/>
              </p:spPr>
              <p:txBody>
                <a:bodyPr>
                  <a:spAutoFit/>
                </a:bodyPr>
                <a:lstStyle/>
                <a:p>
                  <a:pPr algn="ctr" defTabSz="914377" fontAlgn="auto">
                    <a:lnSpc>
                      <a:spcPct val="130000"/>
                    </a:lnSpc>
                    <a:spcBef>
                      <a:spcPts val="0"/>
                    </a:spcBef>
                    <a:spcAft>
                      <a:spcPts val="0"/>
                    </a:spcAft>
                    <a:defRPr/>
                  </a:pPr>
                  <a:r>
                    <a:rPr lang="zh-CN" altLang="en-US" sz="1600" b="1" dirty="0">
                      <a:solidFill>
                        <a:schemeClr val="bg1">
                          <a:lumMod val="75000"/>
                        </a:schemeClr>
                      </a:solidFill>
                      <a:latin typeface="Arial" panose="020B0604020202020204" pitchFamily="34" charset="0"/>
                      <a:ea typeface="微软雅黑" panose="020B0503020204020204" pitchFamily="34" charset="-122"/>
                    </a:rPr>
                    <a:t>即时</a:t>
                  </a:r>
                  <a:endParaRPr lang="en-US" altLang="zh-CN" sz="1600" b="1" dirty="0">
                    <a:solidFill>
                      <a:schemeClr val="bg1">
                        <a:lumMod val="75000"/>
                      </a:schemeClr>
                    </a:solidFill>
                    <a:latin typeface="Arial" panose="020B0604020202020204" pitchFamily="34" charset="0"/>
                    <a:ea typeface="微软雅黑" panose="020B0503020204020204" pitchFamily="34" charset="-122"/>
                  </a:endParaRPr>
                </a:p>
                <a:p>
                  <a:pPr algn="ctr" defTabSz="914377" fontAlgn="auto">
                    <a:lnSpc>
                      <a:spcPct val="130000"/>
                    </a:lnSpc>
                    <a:spcBef>
                      <a:spcPts val="0"/>
                    </a:spcBef>
                    <a:spcAft>
                      <a:spcPts val="0"/>
                    </a:spcAft>
                    <a:defRPr/>
                  </a:pPr>
                  <a:r>
                    <a:rPr lang="zh-CN" altLang="en-US" sz="1600" b="1" dirty="0">
                      <a:solidFill>
                        <a:schemeClr val="bg1">
                          <a:lumMod val="75000"/>
                        </a:schemeClr>
                      </a:solidFill>
                      <a:latin typeface="Arial" panose="020B0604020202020204" pitchFamily="34" charset="0"/>
                      <a:ea typeface="微软雅黑" panose="020B0503020204020204" pitchFamily="34" charset="-122"/>
                    </a:rPr>
                    <a:t>通讯</a:t>
                  </a:r>
                </a:p>
              </p:txBody>
            </p:sp>
            <p:sp>
              <p:nvSpPr>
                <p:cNvPr id="48" name="KSO_Shape"/>
                <p:cNvSpPr/>
                <p:nvPr/>
              </p:nvSpPr>
              <p:spPr>
                <a:xfrm>
                  <a:off x="1322608" y="3120186"/>
                  <a:ext cx="376243" cy="309918"/>
                </a:xfrm>
                <a:prstGeom prst="mathEqual">
                  <a:avLst>
                    <a:gd name="adj1" fmla="val 13987"/>
                    <a:gd name="adj2" fmla="val 11760"/>
                  </a:avLst>
                </a:prstGeom>
                <a:solidFill>
                  <a:srgbClr val="CD202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377" eaLnBrk="1" fontAlgn="auto" hangingPunct="1">
                    <a:spcBef>
                      <a:spcPts val="0"/>
                    </a:spcBef>
                    <a:spcAft>
                      <a:spcPts val="0"/>
                    </a:spcAft>
                    <a:defRPr/>
                  </a:pPr>
                  <a:endParaRPr lang="zh-CN" altLang="en-US" dirty="0">
                    <a:solidFill>
                      <a:srgbClr val="FFFFFF"/>
                    </a:solidFill>
                  </a:endParaRPr>
                </a:p>
              </p:txBody>
            </p:sp>
          </p:grpSp>
          <p:pic>
            <p:nvPicPr>
              <p:cNvPr id="41002" name="图片 3"/>
              <p:cNvPicPr>
                <a:picLocks noChangeAspect="1"/>
              </p:cNvPicPr>
              <p:nvPr/>
            </p:nvPicPr>
            <p:blipFill>
              <a:blip r:embed="rId3"/>
              <a:srcRect/>
              <a:stretch>
                <a:fillRect/>
              </a:stretch>
            </p:blipFill>
            <p:spPr bwMode="auto">
              <a:xfrm>
                <a:off x="2754454" y="2988020"/>
                <a:ext cx="888859" cy="622201"/>
              </a:xfrm>
              <a:prstGeom prst="rect">
                <a:avLst/>
              </a:prstGeom>
              <a:noFill/>
              <a:ln w="9525">
                <a:noFill/>
                <a:miter lim="800000"/>
                <a:headEnd/>
                <a:tailEnd/>
              </a:ln>
            </p:spPr>
          </p:pic>
        </p:grpSp>
        <p:grpSp>
          <p:nvGrpSpPr>
            <p:cNvPr id="40983" name="组合 74"/>
            <p:cNvGrpSpPr>
              <a:grpSpLocks/>
            </p:cNvGrpSpPr>
            <p:nvPr/>
          </p:nvGrpSpPr>
          <p:grpSpPr bwMode="auto">
            <a:xfrm>
              <a:off x="5059461" y="2905788"/>
              <a:ext cx="2143074" cy="830138"/>
              <a:chOff x="5059461" y="2905788"/>
              <a:chExt cx="2143074" cy="830138"/>
            </a:xfrm>
          </p:grpSpPr>
          <p:grpSp>
            <p:nvGrpSpPr>
              <p:cNvPr id="40996" name="组合 48"/>
              <p:cNvGrpSpPr>
                <a:grpSpLocks/>
              </p:cNvGrpSpPr>
              <p:nvPr/>
            </p:nvGrpSpPr>
            <p:grpSpPr bwMode="auto">
              <a:xfrm>
                <a:off x="5059461" y="2905788"/>
                <a:ext cx="2143074" cy="830138"/>
                <a:chOff x="251965" y="2832006"/>
                <a:chExt cx="2143074" cy="830138"/>
              </a:xfrm>
            </p:grpSpPr>
            <p:sp>
              <p:nvSpPr>
                <p:cNvPr id="50" name="矩形 49"/>
                <p:cNvSpPr/>
                <p:nvPr/>
              </p:nvSpPr>
              <p:spPr>
                <a:xfrm>
                  <a:off x="252375" y="2832520"/>
                  <a:ext cx="2135214" cy="8296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endParaRPr lang="zh-CN" altLang="en-US"/>
                </a:p>
              </p:txBody>
            </p:sp>
            <p:sp>
              <p:nvSpPr>
                <p:cNvPr id="51" name="文本框 50"/>
                <p:cNvSpPr txBox="1"/>
                <p:nvPr/>
              </p:nvSpPr>
              <p:spPr>
                <a:xfrm>
                  <a:off x="1520803" y="2999398"/>
                  <a:ext cx="874723" cy="452956"/>
                </a:xfrm>
                <a:prstGeom prst="rect">
                  <a:avLst/>
                </a:prstGeom>
                <a:noFill/>
              </p:spPr>
              <p:txBody>
                <a:bodyPr>
                  <a:spAutoFit/>
                </a:bodyPr>
                <a:lstStyle/>
                <a:p>
                  <a:pPr algn="ctr" defTabSz="914377" fontAlgn="auto">
                    <a:lnSpc>
                      <a:spcPct val="130000"/>
                    </a:lnSpc>
                    <a:spcBef>
                      <a:spcPts val="0"/>
                    </a:spcBef>
                    <a:spcAft>
                      <a:spcPts val="0"/>
                    </a:spcAft>
                    <a:defRPr/>
                  </a:pPr>
                  <a:r>
                    <a:rPr lang="zh-CN" altLang="en-US" b="1" dirty="0">
                      <a:solidFill>
                        <a:schemeClr val="bg1">
                          <a:lumMod val="75000"/>
                        </a:schemeClr>
                      </a:solidFill>
                      <a:latin typeface="Arial" panose="020B0604020202020204" pitchFamily="34" charset="0"/>
                      <a:ea typeface="微软雅黑" panose="020B0503020204020204" pitchFamily="34" charset="-122"/>
                    </a:rPr>
                    <a:t>搜索</a:t>
                  </a:r>
                  <a:endParaRPr lang="zh-CN" altLang="en-US" b="1" dirty="0">
                    <a:solidFill>
                      <a:schemeClr val="bg1">
                        <a:lumMod val="75000"/>
                      </a:schemeClr>
                    </a:solidFill>
                    <a:latin typeface="Arial" panose="020B0604020202020204" pitchFamily="34" charset="0"/>
                    <a:ea typeface="微软雅黑" panose="020B0503020204020204" pitchFamily="34" charset="-122"/>
                  </a:endParaRPr>
                </a:p>
              </p:txBody>
            </p:sp>
            <p:sp>
              <p:nvSpPr>
                <p:cNvPr id="52" name="KSO_Shape"/>
                <p:cNvSpPr/>
                <p:nvPr/>
              </p:nvSpPr>
              <p:spPr>
                <a:xfrm>
                  <a:off x="1298551" y="3066149"/>
                  <a:ext cx="374655" cy="311506"/>
                </a:xfrm>
                <a:prstGeom prst="mathEqual">
                  <a:avLst>
                    <a:gd name="adj1" fmla="val 13987"/>
                    <a:gd name="adj2" fmla="val 11760"/>
                  </a:avLst>
                </a:prstGeom>
                <a:solidFill>
                  <a:srgbClr val="CD202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377" eaLnBrk="1" fontAlgn="auto" hangingPunct="1">
                    <a:spcBef>
                      <a:spcPts val="0"/>
                    </a:spcBef>
                    <a:spcAft>
                      <a:spcPts val="0"/>
                    </a:spcAft>
                    <a:defRPr/>
                  </a:pPr>
                  <a:endParaRPr lang="zh-CN" altLang="en-US" dirty="0">
                    <a:solidFill>
                      <a:srgbClr val="FFFFFF"/>
                    </a:solidFill>
                  </a:endParaRPr>
                </a:p>
              </p:txBody>
            </p:sp>
          </p:grpSp>
          <p:pic>
            <p:nvPicPr>
              <p:cNvPr id="40997" name="图片 6"/>
              <p:cNvPicPr>
                <a:picLocks noChangeAspect="1"/>
              </p:cNvPicPr>
              <p:nvPr/>
            </p:nvPicPr>
            <p:blipFill>
              <a:blip r:embed="rId4"/>
              <a:srcRect/>
              <a:stretch>
                <a:fillRect/>
              </a:stretch>
            </p:blipFill>
            <p:spPr bwMode="auto">
              <a:xfrm>
                <a:off x="5084697" y="3073624"/>
                <a:ext cx="1024982" cy="450992"/>
              </a:xfrm>
              <a:prstGeom prst="rect">
                <a:avLst/>
              </a:prstGeom>
              <a:noFill/>
              <a:ln w="9525">
                <a:noFill/>
                <a:miter lim="800000"/>
                <a:headEnd/>
                <a:tailEnd/>
              </a:ln>
            </p:spPr>
          </p:pic>
        </p:grpSp>
        <p:grpSp>
          <p:nvGrpSpPr>
            <p:cNvPr id="40984" name="组合 75"/>
            <p:cNvGrpSpPr>
              <a:grpSpLocks/>
            </p:cNvGrpSpPr>
            <p:nvPr/>
          </p:nvGrpSpPr>
          <p:grpSpPr bwMode="auto">
            <a:xfrm>
              <a:off x="7454581" y="2884051"/>
              <a:ext cx="2151702" cy="830138"/>
              <a:chOff x="7454581" y="2884051"/>
              <a:chExt cx="2151702" cy="830138"/>
            </a:xfrm>
          </p:grpSpPr>
          <p:grpSp>
            <p:nvGrpSpPr>
              <p:cNvPr id="40991" name="组合 52"/>
              <p:cNvGrpSpPr>
                <a:grpSpLocks/>
              </p:cNvGrpSpPr>
              <p:nvPr/>
            </p:nvGrpSpPr>
            <p:grpSpPr bwMode="auto">
              <a:xfrm>
                <a:off x="7454581" y="2884051"/>
                <a:ext cx="2151702" cy="830138"/>
                <a:chOff x="243337" y="2810269"/>
                <a:chExt cx="2151702" cy="830138"/>
              </a:xfrm>
            </p:grpSpPr>
            <p:sp>
              <p:nvSpPr>
                <p:cNvPr id="54" name="矩形 53"/>
                <p:cNvSpPr/>
                <p:nvPr/>
              </p:nvSpPr>
              <p:spPr>
                <a:xfrm>
                  <a:off x="242607" y="2810269"/>
                  <a:ext cx="2135215" cy="8296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endParaRPr lang="zh-CN" altLang="en-US"/>
                </a:p>
              </p:txBody>
            </p:sp>
            <p:sp>
              <p:nvSpPr>
                <p:cNvPr id="55" name="文本框 54"/>
                <p:cNvSpPr txBox="1"/>
                <p:nvPr/>
              </p:nvSpPr>
              <p:spPr>
                <a:xfrm>
                  <a:off x="1520561" y="2999397"/>
                  <a:ext cx="874723" cy="451367"/>
                </a:xfrm>
                <a:prstGeom prst="rect">
                  <a:avLst/>
                </a:prstGeom>
                <a:noFill/>
              </p:spPr>
              <p:txBody>
                <a:bodyPr>
                  <a:spAutoFit/>
                </a:bodyPr>
                <a:lstStyle/>
                <a:p>
                  <a:pPr algn="ctr" defTabSz="914377" fontAlgn="auto">
                    <a:lnSpc>
                      <a:spcPct val="130000"/>
                    </a:lnSpc>
                    <a:spcBef>
                      <a:spcPts val="0"/>
                    </a:spcBef>
                    <a:spcAft>
                      <a:spcPts val="0"/>
                    </a:spcAft>
                    <a:defRPr/>
                  </a:pPr>
                  <a:r>
                    <a:rPr lang="zh-CN" altLang="en-US" b="1" dirty="0">
                      <a:solidFill>
                        <a:schemeClr val="bg1">
                          <a:lumMod val="75000"/>
                        </a:schemeClr>
                      </a:solidFill>
                      <a:latin typeface="Arial" panose="020B0604020202020204" pitchFamily="34" charset="0"/>
                      <a:ea typeface="微软雅黑" panose="020B0503020204020204" pitchFamily="34" charset="-122"/>
                    </a:rPr>
                    <a:t>专车</a:t>
                  </a:r>
                </a:p>
              </p:txBody>
            </p:sp>
            <p:sp>
              <p:nvSpPr>
                <p:cNvPr id="56" name="KSO_Shape"/>
                <p:cNvSpPr/>
                <p:nvPr/>
              </p:nvSpPr>
              <p:spPr>
                <a:xfrm>
                  <a:off x="1296720" y="3066149"/>
                  <a:ext cx="376243" cy="309918"/>
                </a:xfrm>
                <a:prstGeom prst="mathEqual">
                  <a:avLst>
                    <a:gd name="adj1" fmla="val 13987"/>
                    <a:gd name="adj2" fmla="val 11760"/>
                  </a:avLst>
                </a:prstGeom>
                <a:solidFill>
                  <a:srgbClr val="CD202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377" eaLnBrk="1" fontAlgn="auto" hangingPunct="1">
                    <a:spcBef>
                      <a:spcPts val="0"/>
                    </a:spcBef>
                    <a:spcAft>
                      <a:spcPts val="0"/>
                    </a:spcAft>
                    <a:defRPr/>
                  </a:pPr>
                  <a:endParaRPr lang="zh-CN" altLang="en-US" dirty="0">
                    <a:solidFill>
                      <a:srgbClr val="FFFFFF"/>
                    </a:solidFill>
                  </a:endParaRPr>
                </a:p>
              </p:txBody>
            </p:sp>
          </p:grpSp>
          <p:pic>
            <p:nvPicPr>
              <p:cNvPr id="40992" name="图片 7"/>
              <p:cNvPicPr>
                <a:picLocks noChangeAspect="1"/>
              </p:cNvPicPr>
              <p:nvPr/>
            </p:nvPicPr>
            <p:blipFill>
              <a:blip r:embed="rId5"/>
              <a:srcRect/>
              <a:stretch>
                <a:fillRect/>
              </a:stretch>
            </p:blipFill>
            <p:spPr bwMode="auto">
              <a:xfrm>
                <a:off x="7533193" y="2981533"/>
                <a:ext cx="929426" cy="556490"/>
              </a:xfrm>
              <a:prstGeom prst="rect">
                <a:avLst/>
              </a:prstGeom>
              <a:noFill/>
              <a:ln w="9525">
                <a:noFill/>
                <a:miter lim="800000"/>
                <a:headEnd/>
                <a:tailEnd/>
              </a:ln>
            </p:spPr>
          </p:pic>
        </p:grpSp>
        <p:grpSp>
          <p:nvGrpSpPr>
            <p:cNvPr id="40985" name="组合 76"/>
            <p:cNvGrpSpPr>
              <a:grpSpLocks/>
            </p:cNvGrpSpPr>
            <p:nvPr/>
          </p:nvGrpSpPr>
          <p:grpSpPr bwMode="auto">
            <a:xfrm>
              <a:off x="9858330" y="2884051"/>
              <a:ext cx="2151702" cy="830138"/>
              <a:chOff x="9858330" y="2884051"/>
              <a:chExt cx="2151702" cy="830138"/>
            </a:xfrm>
          </p:grpSpPr>
          <p:grpSp>
            <p:nvGrpSpPr>
              <p:cNvPr id="40986" name="组合 56"/>
              <p:cNvGrpSpPr>
                <a:grpSpLocks/>
              </p:cNvGrpSpPr>
              <p:nvPr/>
            </p:nvGrpSpPr>
            <p:grpSpPr bwMode="auto">
              <a:xfrm>
                <a:off x="9858330" y="2884051"/>
                <a:ext cx="2151702" cy="830138"/>
                <a:chOff x="243337" y="2810269"/>
                <a:chExt cx="2151702" cy="830138"/>
              </a:xfrm>
            </p:grpSpPr>
            <p:sp>
              <p:nvSpPr>
                <p:cNvPr id="58" name="矩形 57"/>
                <p:cNvSpPr/>
                <p:nvPr/>
              </p:nvSpPr>
              <p:spPr>
                <a:xfrm>
                  <a:off x="243950" y="2810269"/>
                  <a:ext cx="2133627" cy="8296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endParaRPr lang="zh-CN" altLang="en-US"/>
                </a:p>
              </p:txBody>
            </p:sp>
            <p:sp>
              <p:nvSpPr>
                <p:cNvPr id="59" name="文本框 58"/>
                <p:cNvSpPr txBox="1"/>
                <p:nvPr/>
              </p:nvSpPr>
              <p:spPr>
                <a:xfrm>
                  <a:off x="1520316" y="2999397"/>
                  <a:ext cx="874723" cy="451367"/>
                </a:xfrm>
                <a:prstGeom prst="rect">
                  <a:avLst/>
                </a:prstGeom>
                <a:noFill/>
              </p:spPr>
              <p:txBody>
                <a:bodyPr>
                  <a:spAutoFit/>
                </a:bodyPr>
                <a:lstStyle/>
                <a:p>
                  <a:pPr algn="ctr" defTabSz="914377" fontAlgn="auto">
                    <a:lnSpc>
                      <a:spcPct val="130000"/>
                    </a:lnSpc>
                    <a:spcBef>
                      <a:spcPts val="0"/>
                    </a:spcBef>
                    <a:spcAft>
                      <a:spcPts val="0"/>
                    </a:spcAft>
                    <a:defRPr/>
                  </a:pPr>
                  <a:r>
                    <a:rPr lang="zh-CN" altLang="en-US" b="1" dirty="0">
                      <a:solidFill>
                        <a:schemeClr val="bg1">
                          <a:lumMod val="75000"/>
                        </a:schemeClr>
                      </a:solidFill>
                      <a:latin typeface="Arial" panose="020B0604020202020204" pitchFamily="34" charset="0"/>
                      <a:ea typeface="微软雅黑" panose="020B0503020204020204" pitchFamily="34" charset="-122"/>
                    </a:rPr>
                    <a:t>果冻</a:t>
                  </a:r>
                </a:p>
              </p:txBody>
            </p:sp>
            <p:sp>
              <p:nvSpPr>
                <p:cNvPr id="60" name="KSO_Shape"/>
                <p:cNvSpPr/>
                <p:nvPr/>
              </p:nvSpPr>
              <p:spPr>
                <a:xfrm>
                  <a:off x="1298063" y="3066149"/>
                  <a:ext cx="376242" cy="309918"/>
                </a:xfrm>
                <a:prstGeom prst="mathEqual">
                  <a:avLst>
                    <a:gd name="adj1" fmla="val 13987"/>
                    <a:gd name="adj2" fmla="val 11760"/>
                  </a:avLst>
                </a:prstGeom>
                <a:solidFill>
                  <a:srgbClr val="CD202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377" eaLnBrk="1" fontAlgn="auto" hangingPunct="1">
                    <a:spcBef>
                      <a:spcPts val="0"/>
                    </a:spcBef>
                    <a:spcAft>
                      <a:spcPts val="0"/>
                    </a:spcAft>
                    <a:defRPr/>
                  </a:pPr>
                  <a:endParaRPr lang="zh-CN" altLang="en-US" dirty="0">
                    <a:solidFill>
                      <a:srgbClr val="FFFFFF"/>
                    </a:solidFill>
                  </a:endParaRPr>
                </a:p>
              </p:txBody>
            </p:sp>
          </p:grpSp>
          <p:pic>
            <p:nvPicPr>
              <p:cNvPr id="40987" name="图片 8"/>
              <p:cNvPicPr>
                <a:picLocks noChangeAspect="1"/>
              </p:cNvPicPr>
              <p:nvPr/>
            </p:nvPicPr>
            <p:blipFill>
              <a:blip r:embed="rId6"/>
              <a:srcRect/>
              <a:stretch>
                <a:fillRect/>
              </a:stretch>
            </p:blipFill>
            <p:spPr bwMode="auto">
              <a:xfrm>
                <a:off x="10177069" y="2975741"/>
                <a:ext cx="850440" cy="646759"/>
              </a:xfrm>
              <a:prstGeom prst="rect">
                <a:avLst/>
              </a:prstGeom>
              <a:noFill/>
              <a:ln w="9525">
                <a:noFill/>
                <a:miter lim="800000"/>
                <a:headEnd/>
                <a:tailEnd/>
              </a:ln>
            </p:spPr>
          </p:pic>
        </p:grpSp>
      </p:grpSp>
      <p:sp>
        <p:nvSpPr>
          <p:cNvPr id="40" name="文本框 39"/>
          <p:cNvSpPr txBox="1">
            <a:spLocks noChangeArrowheads="1"/>
          </p:cNvSpPr>
          <p:nvPr/>
        </p:nvSpPr>
        <p:spPr bwMode="auto">
          <a:xfrm>
            <a:off x="508000" y="4246563"/>
            <a:ext cx="3759200" cy="415925"/>
          </a:xfrm>
          <a:prstGeom prst="rect">
            <a:avLst/>
          </a:prstGeom>
          <a:noFill/>
          <a:ln w="9525">
            <a:noFill/>
            <a:miter lim="800000"/>
            <a:headEnd/>
            <a:tailEnd/>
          </a:ln>
        </p:spPr>
        <p:txBody>
          <a:bodyPr lIns="91438" tIns="45719" rIns="91438" bIns="45719">
            <a:spAutoFit/>
          </a:bodyPr>
          <a:lstStyle/>
          <a:p>
            <a:pPr algn="ctr">
              <a:lnSpc>
                <a:spcPct val="130000"/>
              </a:lnSpc>
            </a:pPr>
            <a:r>
              <a:rPr lang="zh-CN" altLang="en-US" b="1">
                <a:ea typeface="微软雅黑" pitchFamily="34" charset="-122"/>
              </a:rPr>
              <a:t>一个更快的外卖</a:t>
            </a:r>
          </a:p>
        </p:txBody>
      </p:sp>
      <p:sp>
        <p:nvSpPr>
          <p:cNvPr id="41" name="文本框 40"/>
          <p:cNvSpPr txBox="1">
            <a:spLocks noChangeArrowheads="1"/>
          </p:cNvSpPr>
          <p:nvPr/>
        </p:nvSpPr>
        <p:spPr bwMode="auto">
          <a:xfrm>
            <a:off x="4618038" y="4246563"/>
            <a:ext cx="2955925" cy="571500"/>
          </a:xfrm>
          <a:prstGeom prst="rect">
            <a:avLst/>
          </a:prstGeom>
          <a:noFill/>
          <a:ln w="9525">
            <a:noFill/>
            <a:miter lim="800000"/>
            <a:headEnd/>
            <a:tailEnd/>
          </a:ln>
        </p:spPr>
        <p:txBody>
          <a:bodyPr lIns="91438" tIns="45719" rIns="91438" bIns="45719">
            <a:spAutoFit/>
          </a:bodyPr>
          <a:lstStyle/>
          <a:p>
            <a:pPr algn="ctr">
              <a:lnSpc>
                <a:spcPct val="130000"/>
              </a:lnSpc>
            </a:pPr>
            <a:r>
              <a:rPr lang="zh-CN" altLang="en-US" sz="2400" b="1">
                <a:ea typeface="微软雅黑" pitchFamily="34" charset="-122"/>
              </a:rPr>
              <a:t>一个预防上火的饮料</a:t>
            </a:r>
          </a:p>
        </p:txBody>
      </p:sp>
      <p:sp>
        <p:nvSpPr>
          <p:cNvPr id="42" name="文本框 41"/>
          <p:cNvSpPr txBox="1">
            <a:spLocks noChangeArrowheads="1"/>
          </p:cNvSpPr>
          <p:nvPr/>
        </p:nvSpPr>
        <p:spPr bwMode="auto">
          <a:xfrm>
            <a:off x="8062913" y="4246563"/>
            <a:ext cx="3659187" cy="571500"/>
          </a:xfrm>
          <a:prstGeom prst="rect">
            <a:avLst/>
          </a:prstGeom>
          <a:noFill/>
          <a:ln w="9525">
            <a:noFill/>
            <a:miter lim="800000"/>
            <a:headEnd/>
            <a:tailEnd/>
          </a:ln>
        </p:spPr>
        <p:txBody>
          <a:bodyPr lIns="91438" tIns="45719" rIns="91438" bIns="45719">
            <a:spAutoFit/>
          </a:bodyPr>
          <a:lstStyle/>
          <a:p>
            <a:pPr algn="ctr">
              <a:lnSpc>
                <a:spcPct val="130000"/>
              </a:lnSpc>
            </a:pPr>
            <a:r>
              <a:rPr lang="zh-CN" altLang="en-US" sz="2400" b="1">
                <a:ea typeface="微软雅黑" pitchFamily="34" charset="-122"/>
              </a:rPr>
              <a:t>一个更安全的专车</a:t>
            </a:r>
          </a:p>
        </p:txBody>
      </p:sp>
      <p:grpSp>
        <p:nvGrpSpPr>
          <p:cNvPr id="21" name="组合 78"/>
          <p:cNvGrpSpPr>
            <a:grpSpLocks/>
          </p:cNvGrpSpPr>
          <p:nvPr/>
        </p:nvGrpSpPr>
        <p:grpSpPr bwMode="auto">
          <a:xfrm>
            <a:off x="1327150" y="2857500"/>
            <a:ext cx="9537700" cy="1004888"/>
            <a:chOff x="1387305" y="4559422"/>
            <a:chExt cx="9538245" cy="1004381"/>
          </a:xfrm>
        </p:grpSpPr>
        <p:sp>
          <p:nvSpPr>
            <p:cNvPr id="62" name="矩形 61"/>
            <p:cNvSpPr/>
            <p:nvPr/>
          </p:nvSpPr>
          <p:spPr>
            <a:xfrm>
              <a:off x="1387305" y="4559422"/>
              <a:ext cx="2133722" cy="10043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endParaRPr lang="zh-CN" altLang="en-US"/>
            </a:p>
          </p:txBody>
        </p:sp>
        <p:grpSp>
          <p:nvGrpSpPr>
            <p:cNvPr id="40975" name="组合 66"/>
            <p:cNvGrpSpPr>
              <a:grpSpLocks/>
            </p:cNvGrpSpPr>
            <p:nvPr/>
          </p:nvGrpSpPr>
          <p:grpSpPr bwMode="auto">
            <a:xfrm>
              <a:off x="5089207" y="4559422"/>
              <a:ext cx="2134441" cy="1004381"/>
              <a:chOff x="4521204" y="4125974"/>
              <a:chExt cx="2134441" cy="1004381"/>
            </a:xfrm>
          </p:grpSpPr>
          <p:sp>
            <p:nvSpPr>
              <p:cNvPr id="65" name="矩形 64"/>
              <p:cNvSpPr/>
              <p:nvPr/>
            </p:nvSpPr>
            <p:spPr>
              <a:xfrm>
                <a:off x="4521564" y="4125974"/>
                <a:ext cx="2133722" cy="10043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endParaRPr lang="zh-CN" altLang="en-US"/>
              </a:p>
            </p:txBody>
          </p:sp>
          <p:pic>
            <p:nvPicPr>
              <p:cNvPr id="40980" name="图片 28"/>
              <p:cNvPicPr>
                <a:picLocks noChangeAspect="1"/>
              </p:cNvPicPr>
              <p:nvPr/>
            </p:nvPicPr>
            <p:blipFill>
              <a:blip r:embed="rId7"/>
              <a:srcRect/>
              <a:stretch>
                <a:fillRect/>
              </a:stretch>
            </p:blipFill>
            <p:spPr bwMode="auto">
              <a:xfrm>
                <a:off x="4768629" y="4296095"/>
                <a:ext cx="1639591" cy="664138"/>
              </a:xfrm>
              <a:prstGeom prst="rect">
                <a:avLst/>
              </a:prstGeom>
              <a:noFill/>
              <a:ln w="9525">
                <a:noFill/>
                <a:miter lim="800000"/>
                <a:headEnd/>
                <a:tailEnd/>
              </a:ln>
            </p:spPr>
          </p:pic>
        </p:grpSp>
        <p:grpSp>
          <p:nvGrpSpPr>
            <p:cNvPr id="40976" name="组合 67"/>
            <p:cNvGrpSpPr>
              <a:grpSpLocks/>
            </p:cNvGrpSpPr>
            <p:nvPr/>
          </p:nvGrpSpPr>
          <p:grpSpPr bwMode="auto">
            <a:xfrm>
              <a:off x="8791109" y="4559422"/>
              <a:ext cx="2134441" cy="1004381"/>
              <a:chOff x="7292025" y="4125974"/>
              <a:chExt cx="2134441" cy="1004381"/>
            </a:xfrm>
          </p:grpSpPr>
          <p:sp>
            <p:nvSpPr>
              <p:cNvPr id="66" name="矩形 65"/>
              <p:cNvSpPr/>
              <p:nvPr/>
            </p:nvSpPr>
            <p:spPr>
              <a:xfrm>
                <a:off x="7292744" y="4125974"/>
                <a:ext cx="2133722" cy="10043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endParaRPr lang="zh-CN" altLang="en-US"/>
              </a:p>
            </p:txBody>
          </p:sp>
          <p:pic>
            <p:nvPicPr>
              <p:cNvPr id="40978" name="图片 32"/>
              <p:cNvPicPr>
                <a:picLocks noChangeAspect="1"/>
              </p:cNvPicPr>
              <p:nvPr/>
            </p:nvPicPr>
            <p:blipFill>
              <a:blip r:embed="rId8"/>
              <a:srcRect/>
              <a:stretch>
                <a:fillRect/>
              </a:stretch>
            </p:blipFill>
            <p:spPr bwMode="auto">
              <a:xfrm>
                <a:off x="7405908" y="4350918"/>
                <a:ext cx="1906674" cy="554492"/>
              </a:xfrm>
              <a:prstGeom prst="rect">
                <a:avLst/>
              </a:prstGeom>
              <a:noFill/>
              <a:ln w="9525">
                <a:noFill/>
                <a:miter lim="800000"/>
                <a:headEnd/>
                <a:tailEnd/>
              </a:ln>
            </p:spPr>
          </p:pic>
        </p:grpSp>
      </p:grpSp>
      <p:sp>
        <p:nvSpPr>
          <p:cNvPr id="70" name="KSO_Shape"/>
          <p:cNvSpPr/>
          <p:nvPr/>
        </p:nvSpPr>
        <p:spPr>
          <a:xfrm rot="5400000">
            <a:off x="2200275" y="3990975"/>
            <a:ext cx="374650" cy="311150"/>
          </a:xfrm>
          <a:prstGeom prst="mathEqual">
            <a:avLst>
              <a:gd name="adj1" fmla="val 13987"/>
              <a:gd name="adj2" fmla="val 1176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377" eaLnBrk="1" fontAlgn="auto" hangingPunct="1">
              <a:spcBef>
                <a:spcPts val="0"/>
              </a:spcBef>
              <a:spcAft>
                <a:spcPts val="0"/>
              </a:spcAft>
              <a:defRPr/>
            </a:pPr>
            <a:endParaRPr lang="zh-CN" altLang="en-US" dirty="0">
              <a:solidFill>
                <a:srgbClr val="FFFFFF"/>
              </a:solidFill>
            </a:endParaRPr>
          </a:p>
        </p:txBody>
      </p:sp>
      <p:sp>
        <p:nvSpPr>
          <p:cNvPr id="71" name="KSO_Shape"/>
          <p:cNvSpPr/>
          <p:nvPr/>
        </p:nvSpPr>
        <p:spPr>
          <a:xfrm rot="5400000">
            <a:off x="5899150" y="3990975"/>
            <a:ext cx="374650" cy="311150"/>
          </a:xfrm>
          <a:prstGeom prst="mathEqual">
            <a:avLst>
              <a:gd name="adj1" fmla="val 13987"/>
              <a:gd name="adj2" fmla="val 1176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377" eaLnBrk="1" fontAlgn="auto" hangingPunct="1">
              <a:spcBef>
                <a:spcPts val="0"/>
              </a:spcBef>
              <a:spcAft>
                <a:spcPts val="0"/>
              </a:spcAft>
              <a:defRPr/>
            </a:pPr>
            <a:endParaRPr lang="zh-CN" altLang="en-US" dirty="0">
              <a:solidFill>
                <a:srgbClr val="FFFFFF"/>
              </a:solidFill>
            </a:endParaRPr>
          </a:p>
        </p:txBody>
      </p:sp>
      <p:sp>
        <p:nvSpPr>
          <p:cNvPr id="72" name="KSO_Shape"/>
          <p:cNvSpPr/>
          <p:nvPr/>
        </p:nvSpPr>
        <p:spPr>
          <a:xfrm rot="5400000">
            <a:off x="9704388" y="3990975"/>
            <a:ext cx="374650" cy="311150"/>
          </a:xfrm>
          <a:prstGeom prst="mathEqual">
            <a:avLst>
              <a:gd name="adj1" fmla="val 13987"/>
              <a:gd name="adj2" fmla="val 1176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377" eaLnBrk="1" fontAlgn="auto" hangingPunct="1">
              <a:spcBef>
                <a:spcPts val="0"/>
              </a:spcBef>
              <a:spcAft>
                <a:spcPts val="0"/>
              </a:spcAft>
              <a:defRPr/>
            </a:pPr>
            <a:endParaRPr lang="zh-CN" altLang="en-US" dirty="0">
              <a:solidFill>
                <a:srgbClr val="FFFFFF"/>
              </a:solidFill>
            </a:endParaRPr>
          </a:p>
        </p:txBody>
      </p:sp>
      <p:sp>
        <p:nvSpPr>
          <p:cNvPr id="2" name="右箭头 1"/>
          <p:cNvSpPr/>
          <p:nvPr/>
        </p:nvSpPr>
        <p:spPr>
          <a:xfrm>
            <a:off x="5565775" y="5516563"/>
            <a:ext cx="676275" cy="557212"/>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defTabSz="914377" fontAlgn="auto">
              <a:spcBef>
                <a:spcPts val="0"/>
              </a:spcBef>
              <a:spcAft>
                <a:spcPts val="0"/>
              </a:spcAft>
              <a:defRPr/>
            </a:pPr>
            <a:endParaRPr lang="zh-CN" altLang="en-US"/>
          </a:p>
        </p:txBody>
      </p:sp>
      <p:sp>
        <p:nvSpPr>
          <p:cNvPr id="61" name="内容占位符 2"/>
          <p:cNvSpPr txBox="1">
            <a:spLocks/>
          </p:cNvSpPr>
          <p:nvPr/>
        </p:nvSpPr>
        <p:spPr>
          <a:xfrm>
            <a:off x="173038" y="5157788"/>
            <a:ext cx="11845925" cy="1046162"/>
          </a:xfrm>
          <a:prstGeom prst="rect">
            <a:avLst/>
          </a:prstGeom>
        </p:spPr>
        <p:txBody>
          <a:bodyPr lIns="91428" tIns="45715" rIns="91428" bIns="45715">
            <a:spAutoFit/>
          </a:bodyPr>
          <a:lstStyle>
            <a:lvl1pPr marL="267863" indent="-267863" algn="just" defTabSz="685729" rtl="0" eaLnBrk="1" latinLnBrk="0" hangingPunct="1">
              <a:lnSpc>
                <a:spcPct val="110000"/>
              </a:lnSpc>
              <a:spcBef>
                <a:spcPts val="1350"/>
              </a:spcBef>
              <a:spcAft>
                <a:spcPts val="0"/>
              </a:spcAft>
              <a:buClr>
                <a:schemeClr val="accent1"/>
              </a:buClr>
              <a:buSzPct val="80000"/>
              <a:buFont typeface="Wingdings 2" panose="05020102010507070707" pitchFamily="18" charset="2"/>
              <a:buChar char="÷"/>
              <a:defRPr sz="2400" kern="1200" baseline="0">
                <a:solidFill>
                  <a:schemeClr val="accent1">
                    <a:lumMod val="60000"/>
                    <a:lumOff val="40000"/>
                  </a:schemeClr>
                </a:solidFill>
                <a:latin typeface="+mj-ea"/>
                <a:ea typeface="+mj-ea"/>
                <a:cs typeface="+mn-cs"/>
              </a:defRPr>
            </a:lvl1pPr>
            <a:lvl2pPr marL="267863" indent="-267863" algn="just" defTabSz="685729" rtl="0" eaLnBrk="1" latinLnBrk="0" hangingPunct="1">
              <a:lnSpc>
                <a:spcPct val="150000"/>
              </a:lnSpc>
              <a:spcBef>
                <a:spcPts val="0"/>
              </a:spcBef>
              <a:spcAft>
                <a:spcPts val="450"/>
              </a:spcAft>
              <a:buClr>
                <a:schemeClr val="accent2">
                  <a:lumMod val="60000"/>
                  <a:lumOff val="40000"/>
                </a:schemeClr>
              </a:buClr>
              <a:buFont typeface="新宋体" panose="02010609030101010101" pitchFamily="49" charset="-122"/>
              <a:buChar char=" "/>
              <a:defRPr sz="1800" kern="1200" baseline="0">
                <a:solidFill>
                  <a:schemeClr val="tx1"/>
                </a:solidFill>
                <a:latin typeface="+mn-ea"/>
                <a:ea typeface="+mn-ea"/>
                <a:cs typeface="+mn-cs"/>
              </a:defRPr>
            </a:lvl2pPr>
            <a:lvl3pPr marL="857161" indent="-171432" algn="l" defTabSz="68572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26" indent="-171432" algn="l" defTabSz="685729"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4pPr>
            <a:lvl5pPr marL="1542890" indent="-171432" algn="l" defTabSz="685729"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5pPr>
            <a:lvl6pPr marL="1885754" indent="-171432" algn="l" defTabSz="685729"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619" indent="-171432" algn="l" defTabSz="685729"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483" indent="-171432" algn="l" defTabSz="685729"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348" indent="-171432" algn="l" defTabSz="685729"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marL="0" indent="0" algn="ctr" fontAlgn="auto">
              <a:lnSpc>
                <a:spcPct val="200000"/>
              </a:lnSpc>
              <a:buFont typeface="Wingdings 2" panose="05020102010507070707" pitchFamily="18" charset="2"/>
              <a:buNone/>
              <a:defRPr/>
            </a:pPr>
            <a:r>
              <a:rPr lang="en-US" altLang="zh-CN" sz="3100" b="1" dirty="0" smtClean="0">
                <a:solidFill>
                  <a:schemeClr val="tx1"/>
                </a:solidFill>
                <a:latin typeface="+mn-lt"/>
                <a:ea typeface="+mn-ea"/>
              </a:rPr>
              <a:t>Mind Share</a:t>
            </a:r>
            <a:r>
              <a:rPr lang="zh-CN" altLang="en-US" sz="3100" b="1" dirty="0" smtClean="0">
                <a:solidFill>
                  <a:schemeClr val="tx1"/>
                </a:solidFill>
                <a:latin typeface="+mn-lt"/>
                <a:ea typeface="+mn-ea"/>
              </a:rPr>
              <a:t>           </a:t>
            </a:r>
            <a:r>
              <a:rPr lang="en-US" altLang="zh-CN" sz="3100" b="1" dirty="0" smtClean="0">
                <a:solidFill>
                  <a:schemeClr val="tx1"/>
                </a:solidFill>
                <a:latin typeface="+mn-lt"/>
                <a:ea typeface="+mn-ea"/>
              </a:rPr>
              <a:t>Market Share</a:t>
            </a:r>
          </a:p>
        </p:txBody>
      </p:sp>
      <p:pic>
        <p:nvPicPr>
          <p:cNvPr id="40972" name="图片 52"/>
          <p:cNvPicPr>
            <a:picLocks noChangeAspect="1"/>
          </p:cNvPicPr>
          <p:nvPr/>
        </p:nvPicPr>
        <p:blipFill>
          <a:blip r:embed="rId9"/>
          <a:srcRect/>
          <a:stretch>
            <a:fillRect/>
          </a:stretch>
        </p:blipFill>
        <p:spPr bwMode="auto">
          <a:xfrm>
            <a:off x="1714500" y="3046413"/>
            <a:ext cx="630238" cy="609600"/>
          </a:xfrm>
          <a:prstGeom prst="rect">
            <a:avLst/>
          </a:prstGeom>
          <a:noFill/>
          <a:ln w="9525">
            <a:noFill/>
            <a:miter lim="800000"/>
            <a:headEnd/>
            <a:tailEnd/>
          </a:ln>
        </p:spPr>
      </p:pic>
      <p:sp>
        <p:nvSpPr>
          <p:cNvPr id="25" name="矩形 24"/>
          <p:cNvSpPr/>
          <p:nvPr/>
        </p:nvSpPr>
        <p:spPr>
          <a:xfrm>
            <a:off x="-355600" y="2925763"/>
            <a:ext cx="6096000" cy="777875"/>
          </a:xfrm>
          <a:prstGeom prst="rect">
            <a:avLst/>
          </a:prstGeom>
        </p:spPr>
        <p:txBody>
          <a:bodyPr>
            <a:spAutoFit/>
          </a:bodyPr>
          <a:lstStyle/>
          <a:p>
            <a:pPr algn="ctr" defTabSz="914377" fontAlgn="auto">
              <a:lnSpc>
                <a:spcPct val="130000"/>
              </a:lnSpc>
              <a:spcBef>
                <a:spcPts val="0"/>
              </a:spcBef>
              <a:spcAft>
                <a:spcPts val="0"/>
              </a:spcAft>
              <a:defRPr/>
            </a:pPr>
            <a:r>
              <a:rPr lang="zh-CN" altLang="en-US" b="1" dirty="0">
                <a:solidFill>
                  <a:schemeClr val="bg1">
                    <a:lumMod val="75000"/>
                  </a:schemeClr>
                </a:solidFill>
                <a:latin typeface="Arial" panose="020B0604020202020204" pitchFamily="34" charset="0"/>
                <a:ea typeface="微软雅黑" panose="020B0503020204020204" pitchFamily="34" charset="-122"/>
              </a:rPr>
              <a:t>美团</a:t>
            </a:r>
            <a:endParaRPr lang="en-US" altLang="zh-CN" b="1" dirty="0">
              <a:solidFill>
                <a:schemeClr val="bg1">
                  <a:lumMod val="75000"/>
                </a:schemeClr>
              </a:solidFill>
              <a:latin typeface="Arial" panose="020B0604020202020204" pitchFamily="34" charset="0"/>
              <a:ea typeface="微软雅黑" panose="020B0503020204020204" pitchFamily="34" charset="-122"/>
            </a:endParaRPr>
          </a:p>
          <a:p>
            <a:pPr algn="ctr" defTabSz="914377" fontAlgn="auto">
              <a:lnSpc>
                <a:spcPct val="130000"/>
              </a:lnSpc>
              <a:spcBef>
                <a:spcPts val="0"/>
              </a:spcBef>
              <a:spcAft>
                <a:spcPts val="0"/>
              </a:spcAft>
              <a:defRPr/>
            </a:pPr>
            <a:r>
              <a:rPr lang="zh-CN" altLang="en-US" b="1" dirty="0">
                <a:solidFill>
                  <a:schemeClr val="bg1">
                    <a:lumMod val="75000"/>
                  </a:schemeClr>
                </a:solidFill>
                <a:latin typeface="Arial" panose="020B0604020202020204" pitchFamily="34" charset="0"/>
                <a:ea typeface="微软雅黑" panose="020B0503020204020204" pitchFamily="34" charset="-122"/>
              </a:rPr>
              <a:t>外卖</a:t>
            </a:r>
            <a:endParaRPr lang="zh-CN" altLang="en-US" b="1" dirty="0">
              <a:solidFill>
                <a:schemeClr val="bg1">
                  <a:lumMod val="75000"/>
                </a:schemeClr>
              </a:solidFill>
              <a:latin typeface="Arial" panose="020B0604020202020204" pitchFamily="34" charset="0"/>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1" grpId="0"/>
      <p:bldP spid="42" grpId="0"/>
      <p:bldP spid="2" grpId="0" animBg="1"/>
      <p:bldP spid="61"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95438" y="1304925"/>
            <a:ext cx="10313987" cy="830263"/>
          </a:xfrm>
          <a:prstGeom prst="rect">
            <a:avLst/>
          </a:prstGeom>
          <a:noFill/>
        </p:spPr>
        <p:txBody>
          <a:bodyPr>
            <a:spAutoFit/>
          </a:bodyPr>
          <a:lstStyle>
            <a:defPPr>
              <a:defRPr lang="zh-CN"/>
            </a:defPPr>
            <a:lvl1pPr algn="ctr">
              <a:defRPr sz="4400">
                <a:solidFill>
                  <a:srgbClr val="0033CC"/>
                </a:solidFill>
                <a:effectLst>
                  <a:outerShdw blurRad="50800" dist="38100" dir="2700000" algn="tl" rotWithShape="0">
                    <a:prstClr val="black">
                      <a:alpha val="40000"/>
                    </a:prstClr>
                  </a:outerShdw>
                </a:effectLst>
                <a:latin typeface="华文楷体" panose="02010600040101010101" pitchFamily="2" charset="-122"/>
                <a:ea typeface="华文楷体" panose="02010600040101010101" pitchFamily="2" charset="-122"/>
              </a:defRPr>
            </a:lvl1pPr>
          </a:lstStyle>
          <a:p>
            <a:pPr defTabSz="914377" fontAlgn="auto">
              <a:spcBef>
                <a:spcPts val="0"/>
              </a:spcBef>
              <a:spcAft>
                <a:spcPts val="0"/>
              </a:spcAft>
              <a:defRPr/>
            </a:pPr>
            <a:r>
              <a:rPr lang="zh-CN" altLang="en-US" sz="4800" b="1" dirty="0" smtClean="0">
                <a:solidFill>
                  <a:srgbClr val="FF0000"/>
                </a:solidFill>
              </a:rPr>
              <a:t>中产阶级爱什么？怕什么？缺什么？</a:t>
            </a:r>
            <a:endParaRPr lang="zh-CN" altLang="en-US" sz="4800" b="1" dirty="0">
              <a:solidFill>
                <a:srgbClr val="FF0000"/>
              </a:solidFill>
            </a:endParaRPr>
          </a:p>
        </p:txBody>
      </p:sp>
      <p:sp>
        <p:nvSpPr>
          <p:cNvPr id="7" name="TextBox 6"/>
          <p:cNvSpPr txBox="1"/>
          <p:nvPr/>
        </p:nvSpPr>
        <p:spPr>
          <a:xfrm>
            <a:off x="2284413" y="2312988"/>
            <a:ext cx="7623175" cy="5016500"/>
          </a:xfrm>
          <a:prstGeom prst="rect">
            <a:avLst/>
          </a:prstGeom>
          <a:noFill/>
        </p:spPr>
        <p:txBody>
          <a:bodyPr>
            <a:spAutoFit/>
          </a:bodyPr>
          <a:lstStyle>
            <a:defPPr>
              <a:defRPr lang="zh-CN"/>
            </a:defPPr>
            <a:lvl1pPr>
              <a:defRPr sz="3200">
                <a:solidFill>
                  <a:schemeClr val="tx1">
                    <a:lumMod val="75000"/>
                    <a:lumOff val="25000"/>
                  </a:schemeClr>
                </a:solidFill>
                <a:effectLst>
                  <a:outerShdw blurRad="50800" dist="38100" dir="2700000" algn="tl" rotWithShape="0">
                    <a:prstClr val="black">
                      <a:alpha val="40000"/>
                    </a:prstClr>
                  </a:outerShdw>
                </a:effectLst>
                <a:latin typeface="华文新魏" panose="02010800040101010101" pitchFamily="2" charset="-122"/>
                <a:ea typeface="华文新魏" panose="02010800040101010101" pitchFamily="2" charset="-122"/>
              </a:defRPr>
            </a:lvl1pPr>
          </a:lstStyle>
          <a:p>
            <a:pPr algn="ctr" defTabSz="914377" fontAlgn="auto">
              <a:lnSpc>
                <a:spcPct val="200000"/>
              </a:lnSpc>
              <a:spcBef>
                <a:spcPts val="0"/>
              </a:spcBef>
              <a:spcAft>
                <a:spcPts val="0"/>
              </a:spcAft>
              <a:defRPr/>
            </a:pPr>
            <a:r>
              <a:rPr lang="zh-CN" altLang="en-US" sz="4000" b="1" dirty="0" smtClean="0">
                <a:solidFill>
                  <a:schemeClr val="tx1"/>
                </a:solidFill>
                <a:latin typeface="华文楷体" panose="02010600040101010101" pitchFamily="2" charset="-122"/>
                <a:ea typeface="华文楷体" panose="02010600040101010101" pitchFamily="2" charset="-122"/>
              </a:rPr>
              <a:t>爱美、爱玩、爱健康</a:t>
            </a:r>
            <a:endParaRPr lang="en-US" altLang="zh-CN" sz="4000" b="1" dirty="0" smtClean="0">
              <a:solidFill>
                <a:schemeClr val="tx1"/>
              </a:solidFill>
              <a:latin typeface="华文楷体" panose="02010600040101010101" pitchFamily="2" charset="-122"/>
              <a:ea typeface="华文楷体" panose="02010600040101010101" pitchFamily="2" charset="-122"/>
            </a:endParaRPr>
          </a:p>
          <a:p>
            <a:pPr algn="ctr" defTabSz="914377" fontAlgn="auto">
              <a:lnSpc>
                <a:spcPct val="200000"/>
              </a:lnSpc>
              <a:spcBef>
                <a:spcPts val="0"/>
              </a:spcBef>
              <a:spcAft>
                <a:spcPts val="0"/>
              </a:spcAft>
              <a:defRPr/>
            </a:pPr>
            <a:r>
              <a:rPr lang="zh-CN" altLang="en-US" sz="4000" b="1" dirty="0" smtClean="0">
                <a:solidFill>
                  <a:schemeClr val="tx1"/>
                </a:solidFill>
                <a:latin typeface="华文楷体" panose="02010600040101010101" pitchFamily="2" charset="-122"/>
                <a:ea typeface="华文楷体" panose="02010600040101010101" pitchFamily="2" charset="-122"/>
              </a:rPr>
              <a:t>怕老、怕死、怕孤独</a:t>
            </a:r>
            <a:endParaRPr lang="en-US" altLang="zh-CN" sz="4000" b="1" dirty="0" smtClean="0">
              <a:solidFill>
                <a:schemeClr val="tx1"/>
              </a:solidFill>
              <a:latin typeface="华文楷体" panose="02010600040101010101" pitchFamily="2" charset="-122"/>
              <a:ea typeface="华文楷体" panose="02010600040101010101" pitchFamily="2" charset="-122"/>
            </a:endParaRPr>
          </a:p>
          <a:p>
            <a:pPr algn="ctr" defTabSz="914377" fontAlgn="auto">
              <a:lnSpc>
                <a:spcPct val="200000"/>
              </a:lnSpc>
              <a:spcBef>
                <a:spcPts val="0"/>
              </a:spcBef>
              <a:spcAft>
                <a:spcPts val="0"/>
              </a:spcAft>
              <a:defRPr/>
            </a:pPr>
            <a:r>
              <a:rPr lang="zh-CN" altLang="en-US" sz="4000" b="1" dirty="0" smtClean="0">
                <a:solidFill>
                  <a:schemeClr val="tx1"/>
                </a:solidFill>
                <a:latin typeface="华文楷体" panose="02010600040101010101" pitchFamily="2" charset="-122"/>
                <a:ea typeface="华文楷体" panose="02010600040101010101" pitchFamily="2" charset="-122"/>
              </a:rPr>
              <a:t>缺爱、缺心情、缺刺激</a:t>
            </a:r>
            <a:endParaRPr lang="en-US" altLang="zh-CN" sz="4000" b="1" dirty="0" smtClean="0">
              <a:solidFill>
                <a:schemeClr val="tx1"/>
              </a:solidFill>
              <a:latin typeface="华文楷体" panose="02010600040101010101" pitchFamily="2" charset="-122"/>
              <a:ea typeface="华文楷体" panose="02010600040101010101" pitchFamily="2" charset="-122"/>
            </a:endParaRPr>
          </a:p>
          <a:p>
            <a:pPr algn="ctr" defTabSz="914377" fontAlgn="auto">
              <a:lnSpc>
                <a:spcPct val="200000"/>
              </a:lnSpc>
              <a:spcBef>
                <a:spcPts val="0"/>
              </a:spcBef>
              <a:spcAft>
                <a:spcPts val="0"/>
              </a:spcAft>
              <a:defRPr/>
            </a:pPr>
            <a:endParaRPr lang="zh-CN" altLang="en-US" sz="4000" b="1" dirty="0" smtClean="0">
              <a:solidFill>
                <a:schemeClr val="tx1"/>
              </a:solidFill>
              <a:latin typeface="华文楷体" panose="02010600040101010101" pitchFamily="2" charset="-122"/>
              <a:ea typeface="华文楷体" panose="02010600040101010101" pitchFamily="2" charset="-122"/>
            </a:endParaRP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914525" y="836613"/>
            <a:ext cx="8435975" cy="708025"/>
          </a:xfrm>
          <a:prstGeom prst="rect">
            <a:avLst/>
          </a:prstGeom>
          <a:noFill/>
        </p:spPr>
        <p:txBody>
          <a:bodyPr>
            <a:spAutoFit/>
          </a:bodyPr>
          <a:lstStyle>
            <a:defPPr>
              <a:defRPr lang="zh-CN"/>
            </a:defPPr>
            <a:lvl1pPr>
              <a:defRPr sz="3200">
                <a:solidFill>
                  <a:srgbClr val="CC6600"/>
                </a:solidFill>
                <a:effectLst>
                  <a:outerShdw blurRad="50800" dist="38100" dir="2700000" algn="tl" rotWithShape="0">
                    <a:prstClr val="black">
                      <a:alpha val="40000"/>
                    </a:prstClr>
                  </a:outerShdw>
                </a:effectLst>
                <a:latin typeface="华文新魏" panose="02010800040101010101" pitchFamily="2" charset="-122"/>
                <a:ea typeface="华文新魏" panose="02010800040101010101" pitchFamily="2" charset="-122"/>
              </a:defRPr>
            </a:lvl1pPr>
          </a:lstStyle>
          <a:p>
            <a:pPr algn="ctr" defTabSz="914377" fontAlgn="auto">
              <a:spcBef>
                <a:spcPts val="0"/>
              </a:spcBef>
              <a:spcAft>
                <a:spcPts val="0"/>
              </a:spcAft>
              <a:defRPr/>
            </a:pPr>
            <a:r>
              <a:rPr lang="zh-CN" altLang="en-US" sz="4000" b="1" dirty="0" smtClean="0">
                <a:solidFill>
                  <a:srgbClr val="FF0000"/>
                </a:solidFill>
              </a:rPr>
              <a:t>什么是中产阶级的消费心理？</a:t>
            </a:r>
          </a:p>
        </p:txBody>
      </p:sp>
      <p:pic>
        <p:nvPicPr>
          <p:cNvPr id="4" name="TextBox 3"/>
          <p:cNvPicPr>
            <a:picLocks noChangeArrowheads="1"/>
          </p:cNvPicPr>
          <p:nvPr/>
        </p:nvPicPr>
        <p:blipFill>
          <a:blip r:embed="rId2"/>
          <a:srcRect/>
          <a:stretch>
            <a:fillRect/>
          </a:stretch>
        </p:blipFill>
        <p:spPr bwMode="auto">
          <a:xfrm>
            <a:off x="2060575" y="1768475"/>
            <a:ext cx="1646238" cy="4638675"/>
          </a:xfrm>
          <a:prstGeom prst="rect">
            <a:avLst/>
          </a:prstGeom>
          <a:noFill/>
        </p:spPr>
      </p:pic>
      <p:sp>
        <p:nvSpPr>
          <p:cNvPr id="7" name="TextBox 6"/>
          <p:cNvSpPr txBox="1"/>
          <p:nvPr/>
        </p:nvSpPr>
        <p:spPr>
          <a:xfrm>
            <a:off x="5386388" y="1773238"/>
            <a:ext cx="5407025" cy="4032250"/>
          </a:xfrm>
          <a:prstGeom prst="rect">
            <a:avLst/>
          </a:prstGeom>
          <a:noFill/>
        </p:spPr>
        <p:txBody>
          <a:bodyPr>
            <a:spAutoFit/>
          </a:bodyPr>
          <a:lstStyle>
            <a:defPPr>
              <a:defRPr lang="zh-CN"/>
            </a:defPPr>
            <a:lvl1pPr>
              <a:defRPr sz="3200">
                <a:solidFill>
                  <a:schemeClr val="tx1">
                    <a:lumMod val="75000"/>
                    <a:lumOff val="25000"/>
                  </a:schemeClr>
                </a:solidFill>
                <a:effectLst>
                  <a:outerShdw blurRad="50800" dist="38100" dir="2700000" algn="tl" rotWithShape="0">
                    <a:prstClr val="black">
                      <a:alpha val="40000"/>
                    </a:prstClr>
                  </a:outerShdw>
                </a:effectLst>
                <a:latin typeface="华文新魏" panose="02010800040101010101" pitchFamily="2" charset="-122"/>
                <a:ea typeface="华文新魏" panose="02010800040101010101" pitchFamily="2" charset="-122"/>
              </a:defRPr>
            </a:lvl1pPr>
          </a:lstStyle>
          <a:p>
            <a:pPr algn="ctr" defTabSz="914377" fontAlgn="auto">
              <a:lnSpc>
                <a:spcPct val="200000"/>
              </a:lnSpc>
              <a:spcBef>
                <a:spcPts val="0"/>
              </a:spcBef>
              <a:spcAft>
                <a:spcPts val="0"/>
              </a:spcAft>
              <a:defRPr/>
            </a:pPr>
            <a:r>
              <a:rPr lang="zh-CN" altLang="en-US" b="1" dirty="0" smtClean="0">
                <a:solidFill>
                  <a:schemeClr val="tx1"/>
                </a:solidFill>
                <a:latin typeface="华文楷体" panose="02010600040101010101" pitchFamily="2" charset="-122"/>
                <a:ea typeface="华文楷体" panose="02010600040101010101" pitchFamily="2" charset="-122"/>
              </a:rPr>
              <a:t>品质、品牌，满足感</a:t>
            </a:r>
            <a:endParaRPr lang="en-US" altLang="zh-CN" b="1" dirty="0" smtClean="0">
              <a:solidFill>
                <a:schemeClr val="tx1"/>
              </a:solidFill>
              <a:latin typeface="华文楷体" panose="02010600040101010101" pitchFamily="2" charset="-122"/>
              <a:ea typeface="华文楷体" panose="02010600040101010101" pitchFamily="2" charset="-122"/>
            </a:endParaRPr>
          </a:p>
          <a:p>
            <a:pPr algn="ctr" defTabSz="914377" fontAlgn="auto">
              <a:lnSpc>
                <a:spcPct val="200000"/>
              </a:lnSpc>
              <a:spcBef>
                <a:spcPts val="0"/>
              </a:spcBef>
              <a:spcAft>
                <a:spcPts val="0"/>
              </a:spcAft>
              <a:defRPr/>
            </a:pPr>
            <a:r>
              <a:rPr lang="zh-CN" altLang="en-US" b="1" dirty="0" smtClean="0">
                <a:solidFill>
                  <a:schemeClr val="tx1"/>
                </a:solidFill>
                <a:latin typeface="华文楷体" panose="02010600040101010101" pitchFamily="2" charset="-122"/>
                <a:ea typeface="华文楷体" panose="02010600040101010101" pitchFamily="2" charset="-122"/>
              </a:rPr>
              <a:t>品味，逼格，标签化</a:t>
            </a:r>
            <a:endParaRPr lang="en-US" altLang="zh-CN" b="1" dirty="0" smtClean="0">
              <a:solidFill>
                <a:schemeClr val="tx1"/>
              </a:solidFill>
              <a:latin typeface="华文楷体" panose="02010600040101010101" pitchFamily="2" charset="-122"/>
              <a:ea typeface="华文楷体" panose="02010600040101010101" pitchFamily="2" charset="-122"/>
            </a:endParaRPr>
          </a:p>
          <a:p>
            <a:pPr algn="ctr" defTabSz="914377" fontAlgn="auto">
              <a:lnSpc>
                <a:spcPct val="200000"/>
              </a:lnSpc>
              <a:spcBef>
                <a:spcPts val="0"/>
              </a:spcBef>
              <a:spcAft>
                <a:spcPts val="0"/>
              </a:spcAft>
              <a:defRPr/>
            </a:pPr>
            <a:r>
              <a:rPr lang="zh-CN" altLang="en-US" b="1" dirty="0" smtClean="0">
                <a:solidFill>
                  <a:schemeClr val="tx1"/>
                </a:solidFill>
                <a:latin typeface="华文楷体" panose="02010600040101010101" pitchFamily="2" charset="-122"/>
                <a:ea typeface="华文楷体" panose="02010600040101010101" pitchFamily="2" charset="-122"/>
              </a:rPr>
              <a:t>情绪、氛围、场景</a:t>
            </a:r>
            <a:endParaRPr lang="en-US" altLang="zh-CN" b="1" dirty="0" smtClean="0">
              <a:solidFill>
                <a:schemeClr val="tx1"/>
              </a:solidFill>
              <a:latin typeface="华文楷体" panose="02010600040101010101" pitchFamily="2" charset="-122"/>
              <a:ea typeface="华文楷体" panose="02010600040101010101" pitchFamily="2" charset="-122"/>
            </a:endParaRPr>
          </a:p>
          <a:p>
            <a:pPr algn="ctr" defTabSz="914377" fontAlgn="auto">
              <a:lnSpc>
                <a:spcPct val="200000"/>
              </a:lnSpc>
              <a:spcBef>
                <a:spcPts val="0"/>
              </a:spcBef>
              <a:spcAft>
                <a:spcPts val="0"/>
              </a:spcAft>
              <a:defRPr/>
            </a:pPr>
            <a:r>
              <a:rPr lang="zh-CN" altLang="en-US" b="1" dirty="0" smtClean="0">
                <a:solidFill>
                  <a:schemeClr val="tx1"/>
                </a:solidFill>
                <a:latin typeface="华文楷体" panose="02010600040101010101" pitchFamily="2" charset="-122"/>
                <a:ea typeface="华文楷体" panose="02010600040101010101" pitchFamily="2" charset="-122"/>
              </a:rPr>
              <a:t>想要、潮流、抚慰心灵</a:t>
            </a:r>
          </a:p>
        </p:txBody>
      </p:sp>
      <p:sp>
        <p:nvSpPr>
          <p:cNvPr id="8" name="虚尾箭头 7"/>
          <p:cNvSpPr/>
          <p:nvPr/>
        </p:nvSpPr>
        <p:spPr bwMode="auto">
          <a:xfrm>
            <a:off x="3816350" y="2276475"/>
            <a:ext cx="1293813" cy="360363"/>
          </a:xfrm>
          <a:prstGeom prst="stripedRightArrow">
            <a:avLst>
              <a:gd name="adj1" fmla="val 49999"/>
              <a:gd name="adj2" fmla="val 79983"/>
            </a:avLst>
          </a:prstGeom>
          <a:solidFill>
            <a:srgbClr val="657F9B"/>
          </a:solidFill>
          <a:ln w="9525" cap="flat" cmpd="sng" algn="ctr">
            <a:noFill/>
            <a:prstDash val="solid"/>
            <a:round/>
            <a:headEnd type="none" w="med" len="med"/>
            <a:tailEnd type="none" w="med" len="med"/>
          </a:ln>
          <a:effectLst/>
        </p:spPr>
        <p:txBody>
          <a:bodyPr anchor="ctr"/>
          <a:lstStyle/>
          <a:p>
            <a:pPr defTabSz="914400">
              <a:lnSpc>
                <a:spcPct val="130000"/>
              </a:lnSpc>
              <a:defRPr/>
            </a:pPr>
            <a:endParaRPr lang="zh-CN" altLang="en-US" sz="2800" b="1">
              <a:solidFill>
                <a:schemeClr val="bg1"/>
              </a:solidFill>
              <a:ea typeface="华文细黑" pitchFamily="2" charset="-122"/>
            </a:endParaRPr>
          </a:p>
        </p:txBody>
      </p:sp>
      <p:sp>
        <p:nvSpPr>
          <p:cNvPr id="9" name="虚尾箭头 8"/>
          <p:cNvSpPr/>
          <p:nvPr/>
        </p:nvSpPr>
        <p:spPr bwMode="auto">
          <a:xfrm>
            <a:off x="3816350" y="5157788"/>
            <a:ext cx="1293813" cy="358775"/>
          </a:xfrm>
          <a:prstGeom prst="stripedRightArrow">
            <a:avLst>
              <a:gd name="adj1" fmla="val 49999"/>
              <a:gd name="adj2" fmla="val 79983"/>
            </a:avLst>
          </a:prstGeom>
          <a:solidFill>
            <a:srgbClr val="657F9B"/>
          </a:solidFill>
          <a:ln w="9525" cap="flat" cmpd="sng" algn="ctr">
            <a:noFill/>
            <a:prstDash val="solid"/>
            <a:round/>
            <a:headEnd type="none" w="med" len="med"/>
            <a:tailEnd type="none" w="med" len="med"/>
          </a:ln>
          <a:effectLst/>
        </p:spPr>
        <p:txBody>
          <a:bodyPr anchor="ctr"/>
          <a:lstStyle/>
          <a:p>
            <a:pPr defTabSz="914400">
              <a:lnSpc>
                <a:spcPct val="130000"/>
              </a:lnSpc>
              <a:defRPr/>
            </a:pPr>
            <a:endParaRPr lang="zh-CN" altLang="en-US" sz="2800" b="1">
              <a:solidFill>
                <a:schemeClr val="bg1"/>
              </a:solidFill>
              <a:ea typeface="华文细黑" pitchFamily="2" charset="-122"/>
            </a:endParaRPr>
          </a:p>
        </p:txBody>
      </p:sp>
      <p:sp>
        <p:nvSpPr>
          <p:cNvPr id="10" name="虚尾箭头 9"/>
          <p:cNvSpPr/>
          <p:nvPr/>
        </p:nvSpPr>
        <p:spPr bwMode="auto">
          <a:xfrm>
            <a:off x="3816350" y="4197350"/>
            <a:ext cx="1293813" cy="360363"/>
          </a:xfrm>
          <a:prstGeom prst="stripedRightArrow">
            <a:avLst>
              <a:gd name="adj1" fmla="val 49999"/>
              <a:gd name="adj2" fmla="val 79983"/>
            </a:avLst>
          </a:prstGeom>
          <a:solidFill>
            <a:srgbClr val="657F9B"/>
          </a:solidFill>
          <a:ln w="9525" cap="flat" cmpd="sng" algn="ctr">
            <a:noFill/>
            <a:prstDash val="solid"/>
            <a:round/>
            <a:headEnd type="none" w="med" len="med"/>
            <a:tailEnd type="none" w="med" len="med"/>
          </a:ln>
          <a:effectLst/>
        </p:spPr>
        <p:txBody>
          <a:bodyPr anchor="ctr"/>
          <a:lstStyle/>
          <a:p>
            <a:pPr defTabSz="914400">
              <a:lnSpc>
                <a:spcPct val="130000"/>
              </a:lnSpc>
              <a:defRPr/>
            </a:pPr>
            <a:endParaRPr lang="zh-CN" altLang="en-US" sz="2800" b="1">
              <a:solidFill>
                <a:schemeClr val="bg1"/>
              </a:solidFill>
              <a:ea typeface="华文细黑" pitchFamily="2" charset="-122"/>
            </a:endParaRPr>
          </a:p>
        </p:txBody>
      </p:sp>
      <p:sp>
        <p:nvSpPr>
          <p:cNvPr id="11" name="虚尾箭头 10"/>
          <p:cNvSpPr/>
          <p:nvPr/>
        </p:nvSpPr>
        <p:spPr bwMode="auto">
          <a:xfrm>
            <a:off x="3816350" y="3236913"/>
            <a:ext cx="1293813" cy="360362"/>
          </a:xfrm>
          <a:prstGeom prst="stripedRightArrow">
            <a:avLst>
              <a:gd name="adj1" fmla="val 49999"/>
              <a:gd name="adj2" fmla="val 79983"/>
            </a:avLst>
          </a:prstGeom>
          <a:solidFill>
            <a:srgbClr val="657F9B"/>
          </a:solidFill>
          <a:ln w="9525" cap="flat" cmpd="sng" algn="ctr">
            <a:noFill/>
            <a:prstDash val="solid"/>
            <a:round/>
            <a:headEnd type="none" w="med" len="med"/>
            <a:tailEnd type="none" w="med" len="med"/>
          </a:ln>
          <a:effectLst/>
        </p:spPr>
        <p:txBody>
          <a:bodyPr anchor="ctr"/>
          <a:lstStyle/>
          <a:p>
            <a:pPr defTabSz="914400">
              <a:lnSpc>
                <a:spcPct val="130000"/>
              </a:lnSpc>
              <a:defRPr/>
            </a:pPr>
            <a:endParaRPr lang="zh-CN" altLang="en-US" sz="2800" b="1">
              <a:solidFill>
                <a:schemeClr val="bg1"/>
              </a:solidFill>
              <a:ea typeface="华文细黑" pitchFamily="2" charset="-122"/>
            </a:endParaRPr>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9575" y="1588"/>
            <a:ext cx="11372850" cy="6492875"/>
          </a:xfrm>
          <a:prstGeom prst="rect">
            <a:avLst/>
          </a:prstGeom>
          <a:noFill/>
        </p:spPr>
        <p:txBody>
          <a:bodyPr>
            <a:spAutoFit/>
          </a:bodyPr>
          <a:lstStyle>
            <a:defPPr>
              <a:defRPr lang="zh-CN"/>
            </a:defPPr>
            <a:lvl1pPr algn="ctr">
              <a:defRPr sz="4400">
                <a:solidFill>
                  <a:srgbClr val="0033CC"/>
                </a:solidFill>
                <a:effectLst>
                  <a:outerShdw blurRad="50800" dist="38100" dir="2700000" algn="tl" rotWithShape="0">
                    <a:prstClr val="black">
                      <a:alpha val="40000"/>
                    </a:prstClr>
                  </a:outerShdw>
                </a:effectLst>
                <a:latin typeface="华文楷体" panose="02010600040101010101" pitchFamily="2" charset="-122"/>
                <a:ea typeface="华文楷体" panose="02010600040101010101" pitchFamily="2" charset="-122"/>
              </a:defRPr>
            </a:lvl1pPr>
          </a:lstStyle>
          <a:p>
            <a:pPr defTabSz="914377" fontAlgn="auto">
              <a:lnSpc>
                <a:spcPct val="200000"/>
              </a:lnSpc>
              <a:spcBef>
                <a:spcPts val="0"/>
              </a:spcBef>
              <a:spcAft>
                <a:spcPts val="0"/>
              </a:spcAft>
              <a:defRPr/>
            </a:pPr>
            <a:r>
              <a:rPr lang="zh-CN" altLang="en-US" sz="4000" b="1" dirty="0">
                <a:solidFill>
                  <a:srgbClr val="FF0000"/>
                </a:solidFill>
                <a:latin typeface="+mn-lt"/>
                <a:ea typeface="+mn-ea"/>
              </a:rPr>
              <a:t>其实这一轮消费升级，实质上有二个方向。</a:t>
            </a:r>
            <a:endParaRPr lang="en-US" altLang="zh-CN" sz="4000" b="1" dirty="0">
              <a:solidFill>
                <a:srgbClr val="FF0000"/>
              </a:solidFill>
              <a:latin typeface="+mn-lt"/>
              <a:ea typeface="+mn-ea"/>
            </a:endParaRPr>
          </a:p>
          <a:p>
            <a:pPr defTabSz="914377" fontAlgn="auto">
              <a:lnSpc>
                <a:spcPct val="200000"/>
              </a:lnSpc>
              <a:spcBef>
                <a:spcPts val="0"/>
              </a:spcBef>
              <a:spcAft>
                <a:spcPts val="0"/>
              </a:spcAft>
              <a:defRPr/>
            </a:pPr>
            <a:r>
              <a:rPr lang="zh-CN" altLang="en-US" sz="2800" b="1" dirty="0" smtClean="0">
                <a:solidFill>
                  <a:srgbClr val="FF0000"/>
                </a:solidFill>
              </a:rPr>
              <a:t>一</a:t>
            </a:r>
            <a:r>
              <a:rPr lang="zh-CN" altLang="en-US" sz="2800" b="1" dirty="0">
                <a:solidFill>
                  <a:srgbClr val="FF0000"/>
                </a:solidFill>
              </a:rPr>
              <a:t>个是李叫兽讲的中产自我奖赏</a:t>
            </a:r>
            <a:r>
              <a:rPr lang="zh-CN" altLang="en-US" sz="2800" b="1" dirty="0" smtClean="0">
                <a:solidFill>
                  <a:srgbClr val="FF0000"/>
                </a:solidFill>
              </a:rPr>
              <a:t>。</a:t>
            </a:r>
            <a:endParaRPr lang="en-US" altLang="zh-CN" sz="2800" b="1" dirty="0" smtClean="0">
              <a:solidFill>
                <a:srgbClr val="FF0000"/>
              </a:solidFill>
            </a:endParaRPr>
          </a:p>
          <a:p>
            <a:pPr defTabSz="914377" fontAlgn="auto">
              <a:lnSpc>
                <a:spcPct val="200000"/>
              </a:lnSpc>
              <a:spcBef>
                <a:spcPts val="0"/>
              </a:spcBef>
              <a:spcAft>
                <a:spcPts val="0"/>
              </a:spcAft>
              <a:defRPr/>
            </a:pPr>
            <a:r>
              <a:rPr lang="zh-CN" altLang="en-US" sz="1600" b="1" dirty="0">
                <a:solidFill>
                  <a:srgbClr val="000000"/>
                </a:solidFill>
                <a:latin typeface="楷体" panose="02010609060101010101" pitchFamily="49" charset="-122"/>
                <a:ea typeface="楷体" panose="02010609060101010101" pitchFamily="49" charset="-122"/>
              </a:rPr>
              <a:t>并非奢侈品消费－追求身份阶级象征而是购买中高档品消费作为全力打拼的自我奖赏。</a:t>
            </a:r>
            <a:endParaRPr lang="en-US" altLang="zh-CN" sz="1600" b="1" dirty="0">
              <a:solidFill>
                <a:srgbClr val="000000"/>
              </a:solidFill>
              <a:latin typeface="楷体" panose="02010609060101010101" pitchFamily="49" charset="-122"/>
              <a:ea typeface="楷体" panose="02010609060101010101" pitchFamily="49" charset="-122"/>
            </a:endParaRPr>
          </a:p>
          <a:p>
            <a:pPr defTabSz="914377" fontAlgn="auto">
              <a:lnSpc>
                <a:spcPct val="200000"/>
              </a:lnSpc>
              <a:spcBef>
                <a:spcPts val="0"/>
              </a:spcBef>
              <a:spcAft>
                <a:spcPts val="0"/>
              </a:spcAft>
              <a:defRPr/>
            </a:pPr>
            <a:r>
              <a:rPr lang="zh-CN" altLang="en-US" sz="1600" b="1" dirty="0">
                <a:solidFill>
                  <a:srgbClr val="000000"/>
                </a:solidFill>
                <a:latin typeface="楷体" panose="02010609060101010101" pitchFamily="49" charset="-122"/>
                <a:ea typeface="楷体" panose="02010609060101010101" pitchFamily="49" charset="-122"/>
              </a:rPr>
              <a:t>比如滴滴专车之前的文案：“如果现实总拼命，至少车上静一静。全力以赴的你，今天做好一点。”</a:t>
            </a:r>
            <a:endParaRPr lang="en-US" altLang="zh-CN" sz="1600" b="1" dirty="0">
              <a:solidFill>
                <a:srgbClr val="000000"/>
              </a:solidFill>
              <a:latin typeface="楷体" panose="02010609060101010101" pitchFamily="49" charset="-122"/>
              <a:ea typeface="楷体" panose="02010609060101010101" pitchFamily="49" charset="-122"/>
            </a:endParaRPr>
          </a:p>
          <a:p>
            <a:pPr defTabSz="914377" fontAlgn="auto">
              <a:lnSpc>
                <a:spcPct val="200000"/>
              </a:lnSpc>
              <a:spcBef>
                <a:spcPts val="0"/>
              </a:spcBef>
              <a:spcAft>
                <a:spcPts val="0"/>
              </a:spcAft>
              <a:defRPr/>
            </a:pPr>
            <a:r>
              <a:rPr lang="zh-CN" altLang="en-US" sz="1600" b="1" dirty="0">
                <a:solidFill>
                  <a:srgbClr val="000000"/>
                </a:solidFill>
                <a:latin typeface="楷体" panose="02010609060101010101" pitchFamily="49" charset="-122"/>
                <a:ea typeface="楷体" panose="02010609060101010101" pitchFamily="49" charset="-122"/>
              </a:rPr>
              <a:t>例如装修家居，旅游度假，电影演出，娱乐休闲。</a:t>
            </a:r>
            <a:endParaRPr lang="en-US" altLang="zh-CN" sz="1600" b="1" dirty="0">
              <a:solidFill>
                <a:srgbClr val="000000"/>
              </a:solidFill>
              <a:latin typeface="楷体" panose="02010609060101010101" pitchFamily="49" charset="-122"/>
              <a:ea typeface="楷体" panose="02010609060101010101" pitchFamily="49" charset="-122"/>
            </a:endParaRPr>
          </a:p>
          <a:p>
            <a:pPr defTabSz="914377" fontAlgn="auto">
              <a:lnSpc>
                <a:spcPct val="200000"/>
              </a:lnSpc>
              <a:spcBef>
                <a:spcPts val="0"/>
              </a:spcBef>
              <a:spcAft>
                <a:spcPts val="0"/>
              </a:spcAft>
              <a:defRPr/>
            </a:pPr>
            <a:r>
              <a:rPr lang="zh-CN" altLang="en-US" sz="2800" b="1" dirty="0" smtClean="0">
                <a:solidFill>
                  <a:srgbClr val="FF0000"/>
                </a:solidFill>
              </a:rPr>
              <a:t>另</a:t>
            </a:r>
            <a:r>
              <a:rPr lang="zh-CN" altLang="en-US" sz="2800" b="1" dirty="0">
                <a:solidFill>
                  <a:srgbClr val="FF0000"/>
                </a:solidFill>
              </a:rPr>
              <a:t>一种就是罗振宇说的：成为更好的自己</a:t>
            </a:r>
            <a:r>
              <a:rPr lang="zh-CN" altLang="en-US" sz="2800" b="1" dirty="0" smtClean="0">
                <a:solidFill>
                  <a:srgbClr val="FF0000"/>
                </a:solidFill>
              </a:rPr>
              <a:t>。</a:t>
            </a:r>
            <a:endParaRPr lang="en-US" altLang="zh-CN" sz="2800" b="1" dirty="0" smtClean="0">
              <a:solidFill>
                <a:srgbClr val="FF0000"/>
              </a:solidFill>
            </a:endParaRPr>
          </a:p>
          <a:p>
            <a:pPr defTabSz="914377" fontAlgn="auto">
              <a:lnSpc>
                <a:spcPct val="200000"/>
              </a:lnSpc>
              <a:spcBef>
                <a:spcPts val="0"/>
              </a:spcBef>
              <a:spcAft>
                <a:spcPts val="0"/>
              </a:spcAft>
              <a:defRPr/>
            </a:pPr>
            <a:r>
              <a:rPr lang="zh-CN" altLang="en-US" sz="1600" b="1" dirty="0">
                <a:solidFill>
                  <a:srgbClr val="000000"/>
                </a:solidFill>
                <a:latin typeface="楷体" panose="02010609060101010101" pitchFamily="49" charset="-122"/>
                <a:ea typeface="楷体" panose="02010609060101010101" pitchFamily="49" charset="-122"/>
              </a:rPr>
              <a:t>以前是为能够满足自己放纵欲望的需求在付费，现在是我要让自己变得更好，逆着自己的人性走。</a:t>
            </a:r>
            <a:endParaRPr lang="en-US" altLang="zh-CN" sz="1600" b="1" dirty="0">
              <a:solidFill>
                <a:srgbClr val="000000"/>
              </a:solidFill>
              <a:latin typeface="楷体" panose="02010609060101010101" pitchFamily="49" charset="-122"/>
              <a:ea typeface="楷体" panose="02010609060101010101" pitchFamily="49" charset="-122"/>
            </a:endParaRPr>
          </a:p>
          <a:p>
            <a:pPr defTabSz="914377" fontAlgn="auto">
              <a:lnSpc>
                <a:spcPct val="200000"/>
              </a:lnSpc>
              <a:spcBef>
                <a:spcPts val="0"/>
              </a:spcBef>
              <a:spcAft>
                <a:spcPts val="0"/>
              </a:spcAft>
              <a:defRPr/>
            </a:pPr>
            <a:r>
              <a:rPr lang="zh-CN" altLang="en-US" sz="1600" b="1" dirty="0">
                <a:solidFill>
                  <a:srgbClr val="000000"/>
                </a:solidFill>
                <a:latin typeface="楷体" panose="02010609060101010101" pitchFamily="49" charset="-122"/>
                <a:ea typeface="楷体" panose="02010609060101010101" pitchFamily="49" charset="-122"/>
              </a:rPr>
              <a:t>不是让越来越多的有钱人花越来越多的钱买贵的东西，本质上是自我塑造，满足对自己的期许，缓解对自我的焦虑，</a:t>
            </a:r>
            <a:endParaRPr lang="en-US" altLang="zh-CN" sz="1600" b="1" dirty="0">
              <a:solidFill>
                <a:srgbClr val="000000"/>
              </a:solidFill>
              <a:latin typeface="楷体" panose="02010609060101010101" pitchFamily="49" charset="-122"/>
              <a:ea typeface="楷体" panose="02010609060101010101" pitchFamily="49" charset="-122"/>
            </a:endParaRPr>
          </a:p>
          <a:p>
            <a:pPr defTabSz="914377" fontAlgn="auto">
              <a:lnSpc>
                <a:spcPct val="200000"/>
              </a:lnSpc>
              <a:spcBef>
                <a:spcPts val="0"/>
              </a:spcBef>
              <a:spcAft>
                <a:spcPts val="0"/>
              </a:spcAft>
              <a:defRPr/>
            </a:pPr>
            <a:r>
              <a:rPr lang="zh-CN" altLang="en-US" sz="1600" b="1" dirty="0">
                <a:solidFill>
                  <a:srgbClr val="000000"/>
                </a:solidFill>
                <a:latin typeface="楷体" panose="02010609060101010101" pitchFamily="49" charset="-122"/>
                <a:ea typeface="楷体" panose="02010609060101010101" pitchFamily="49" charset="-122"/>
              </a:rPr>
              <a:t>努力实现人格和社会定位的向上跃迁。例如教育培训，知识付费，瑜伽健身，整形美容，养生保健。 </a:t>
            </a:r>
            <a:endParaRPr lang="en-US" altLang="zh-CN" sz="1600" b="1" dirty="0">
              <a:solidFill>
                <a:srgbClr val="000000"/>
              </a:solidFill>
              <a:latin typeface="楷体" panose="02010609060101010101" pitchFamily="49" charset="-122"/>
              <a:ea typeface="楷体" panose="02010609060101010101" pitchFamily="49" charset="-122"/>
            </a:endParaRPr>
          </a:p>
          <a:p>
            <a:pPr defTabSz="914377" fontAlgn="auto">
              <a:lnSpc>
                <a:spcPct val="200000"/>
              </a:lnSpc>
              <a:spcBef>
                <a:spcPts val="0"/>
              </a:spcBef>
              <a:spcAft>
                <a:spcPts val="0"/>
              </a:spcAft>
              <a:defRPr/>
            </a:pPr>
            <a:r>
              <a:rPr lang="zh-CN" altLang="en-US" sz="1600" b="1" dirty="0">
                <a:solidFill>
                  <a:srgbClr val="000000"/>
                </a:solidFill>
                <a:latin typeface="楷体" panose="02010609060101010101" pitchFamily="49" charset="-122"/>
                <a:ea typeface="楷体" panose="02010609060101010101" pitchFamily="49" charset="-122"/>
              </a:rPr>
              <a:t>“每天早起跑步，打卡社群” “</a:t>
            </a:r>
            <a:r>
              <a:rPr lang="en-US" altLang="zh-CN" sz="1600" b="1" dirty="0">
                <a:solidFill>
                  <a:srgbClr val="000000"/>
                </a:solidFill>
                <a:latin typeface="楷体" panose="02010609060101010101" pitchFamily="49" charset="-122"/>
                <a:ea typeface="楷体" panose="02010609060101010101" pitchFamily="49" charset="-122"/>
              </a:rPr>
              <a:t>4</a:t>
            </a:r>
            <a:r>
              <a:rPr lang="zh-CN" altLang="en-US" sz="1600" b="1" dirty="0">
                <a:solidFill>
                  <a:srgbClr val="000000"/>
                </a:solidFill>
                <a:latin typeface="楷体" panose="02010609060101010101" pitchFamily="49" charset="-122"/>
                <a:ea typeface="楷体" panose="02010609060101010101" pitchFamily="49" charset="-122"/>
              </a:rPr>
              <a:t>周系统化训练一个职业技能”“</a:t>
            </a:r>
            <a:r>
              <a:rPr lang="en-US" altLang="zh-CN" sz="1600" b="1" dirty="0">
                <a:solidFill>
                  <a:srgbClr val="000000"/>
                </a:solidFill>
                <a:latin typeface="楷体" panose="02010609060101010101" pitchFamily="49" charset="-122"/>
                <a:ea typeface="楷体" panose="02010609060101010101" pitchFamily="49" charset="-122"/>
              </a:rPr>
              <a:t>3</a:t>
            </a:r>
            <a:r>
              <a:rPr lang="zh-CN" altLang="en-US" sz="1600" b="1" dirty="0">
                <a:solidFill>
                  <a:srgbClr val="000000"/>
                </a:solidFill>
                <a:latin typeface="楷体" panose="02010609060101010101" pitchFamily="49" charset="-122"/>
                <a:ea typeface="楷体" panose="02010609060101010101" pitchFamily="49" charset="-122"/>
              </a:rPr>
              <a:t>周，一起减肥</a:t>
            </a:r>
            <a:r>
              <a:rPr lang="en-US" altLang="zh-CN" sz="1600" b="1" dirty="0">
                <a:solidFill>
                  <a:srgbClr val="000000"/>
                </a:solidFill>
                <a:latin typeface="楷体" panose="02010609060101010101" pitchFamily="49" charset="-122"/>
                <a:ea typeface="楷体" panose="02010609060101010101" pitchFamily="49" charset="-122"/>
              </a:rPr>
              <a:t>5</a:t>
            </a:r>
            <a:r>
              <a:rPr lang="zh-CN" altLang="en-US" sz="1600" b="1" dirty="0">
                <a:solidFill>
                  <a:srgbClr val="000000"/>
                </a:solidFill>
                <a:latin typeface="楷体" panose="02010609060101010101" pitchFamily="49" charset="-122"/>
                <a:ea typeface="楷体" panose="02010609060101010101" pitchFamily="49" charset="-122"/>
              </a:rPr>
              <a:t>斤”“</a:t>
            </a:r>
            <a:r>
              <a:rPr lang="en-US" altLang="zh-CN" sz="1600" b="1" dirty="0">
                <a:solidFill>
                  <a:srgbClr val="000000"/>
                </a:solidFill>
                <a:latin typeface="楷体" panose="02010609060101010101" pitchFamily="49" charset="-122"/>
                <a:ea typeface="楷体" panose="02010609060101010101" pitchFamily="49" charset="-122"/>
              </a:rPr>
              <a:t>36</a:t>
            </a:r>
            <a:r>
              <a:rPr lang="zh-CN" altLang="en-US" sz="1600" b="1" dirty="0">
                <a:solidFill>
                  <a:srgbClr val="000000"/>
                </a:solidFill>
                <a:latin typeface="楷体" panose="02010609060101010101" pitchFamily="49" charset="-122"/>
                <a:ea typeface="楷体" panose="02010609060101010101" pitchFamily="49" charset="-122"/>
              </a:rPr>
              <a:t>天只吃蔬菜”，每月一次轻断食</a:t>
            </a:r>
            <a:endParaRPr lang="en-US" altLang="zh-CN" sz="1600" b="1" dirty="0">
              <a:solidFill>
                <a:srgbClr val="000000"/>
              </a:solidFill>
              <a:latin typeface="楷体" panose="02010609060101010101" pitchFamily="49" charset="-122"/>
              <a:ea typeface="楷体" panose="02010609060101010101" pitchFamily="49" charset="-122"/>
            </a:endParaRPr>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1206500" y="1941513"/>
            <a:ext cx="723900" cy="307975"/>
          </a:xfrm>
          <a:prstGeom prst="rect">
            <a:avLst/>
          </a:prstGeom>
          <a:ln w="28575"/>
        </p:spPr>
        <p:style>
          <a:lnRef idx="2">
            <a:schemeClr val="accent3"/>
          </a:lnRef>
          <a:fillRef idx="1">
            <a:schemeClr val="lt1"/>
          </a:fillRef>
          <a:effectRef idx="0">
            <a:schemeClr val="accent3"/>
          </a:effectRef>
          <a:fontRef idx="minor">
            <a:schemeClr val="dk1"/>
          </a:fontRef>
        </p:style>
        <p:txBody>
          <a:bodyPr wrap="none">
            <a:spAutoFit/>
          </a:bodyPr>
          <a:lstStyle/>
          <a:p>
            <a:pPr defTabSz="914377" fontAlgn="auto">
              <a:spcBef>
                <a:spcPts val="0"/>
              </a:spcBef>
              <a:spcAft>
                <a:spcPts val="0"/>
              </a:spcAft>
              <a:defRPr/>
            </a:pPr>
            <a:r>
              <a:rPr lang="zh-CN" altLang="en-US" sz="1400" dirty="0">
                <a:solidFill>
                  <a:srgbClr val="000000"/>
                </a:solidFill>
              </a:rPr>
              <a:t>购买前</a:t>
            </a:r>
            <a:endParaRPr lang="zh-CN" altLang="en-US" sz="1400" dirty="0">
              <a:solidFill>
                <a:srgbClr val="000000"/>
              </a:solidFill>
            </a:endParaRPr>
          </a:p>
        </p:txBody>
      </p:sp>
      <p:sp>
        <p:nvSpPr>
          <p:cNvPr id="8" name="文本框 7"/>
          <p:cNvSpPr txBox="1"/>
          <p:nvPr/>
        </p:nvSpPr>
        <p:spPr>
          <a:xfrm>
            <a:off x="1104900" y="4664075"/>
            <a:ext cx="723900" cy="307975"/>
          </a:xfrm>
          <a:prstGeom prst="rect">
            <a:avLst/>
          </a:prstGeom>
          <a:ln w="28575"/>
        </p:spPr>
        <p:style>
          <a:lnRef idx="2">
            <a:schemeClr val="accent2"/>
          </a:lnRef>
          <a:fillRef idx="1">
            <a:schemeClr val="lt1"/>
          </a:fillRef>
          <a:effectRef idx="0">
            <a:schemeClr val="accent2"/>
          </a:effectRef>
          <a:fontRef idx="minor">
            <a:schemeClr val="dk1"/>
          </a:fontRef>
        </p:style>
        <p:txBody>
          <a:bodyPr wrap="none">
            <a:spAutoFit/>
          </a:bodyPr>
          <a:lstStyle/>
          <a:p>
            <a:pPr defTabSz="914377" fontAlgn="auto">
              <a:spcBef>
                <a:spcPts val="0"/>
              </a:spcBef>
              <a:spcAft>
                <a:spcPts val="0"/>
              </a:spcAft>
              <a:defRPr/>
            </a:pPr>
            <a:r>
              <a:rPr lang="zh-CN" altLang="en-US" sz="1400" dirty="0">
                <a:solidFill>
                  <a:srgbClr val="000000"/>
                </a:solidFill>
              </a:rPr>
              <a:t>购买后</a:t>
            </a:r>
            <a:endParaRPr lang="zh-CN" altLang="en-US" sz="1400" dirty="0">
              <a:solidFill>
                <a:srgbClr val="000000"/>
              </a:solidFill>
            </a:endParaRPr>
          </a:p>
        </p:txBody>
      </p:sp>
      <p:sp>
        <p:nvSpPr>
          <p:cNvPr id="139267" name="矩形 13"/>
          <p:cNvSpPr>
            <a:spLocks noChangeArrowheads="1"/>
          </p:cNvSpPr>
          <p:nvPr/>
        </p:nvSpPr>
        <p:spPr bwMode="auto">
          <a:xfrm>
            <a:off x="1927225" y="3284538"/>
            <a:ext cx="2232025" cy="584200"/>
          </a:xfrm>
          <a:prstGeom prst="rect">
            <a:avLst/>
          </a:prstGeom>
          <a:noFill/>
          <a:ln w="9525">
            <a:noFill/>
            <a:miter lim="800000"/>
            <a:headEnd/>
            <a:tailEnd/>
          </a:ln>
        </p:spPr>
        <p:txBody>
          <a:bodyPr>
            <a:spAutoFit/>
          </a:bodyPr>
          <a:lstStyle/>
          <a:p>
            <a:r>
              <a:rPr lang="zh-CN" altLang="en-US" sz="1600">
                <a:solidFill>
                  <a:srgbClr val="000000"/>
                </a:solidFill>
                <a:latin typeface="Calibri Light"/>
                <a:ea typeface="微软雅黑" pitchFamily="34" charset="-122"/>
              </a:rPr>
              <a:t>在购买新商品前</a:t>
            </a:r>
            <a:r>
              <a:rPr lang="en-US" altLang="zh-CN" sz="1600">
                <a:solidFill>
                  <a:srgbClr val="000000"/>
                </a:solidFill>
                <a:latin typeface="Calibri Light"/>
                <a:ea typeface="微软雅黑" pitchFamily="34" charset="-122"/>
              </a:rPr>
              <a:t>,</a:t>
            </a:r>
            <a:r>
              <a:rPr lang="zh-CN" altLang="en-US" sz="1600">
                <a:solidFill>
                  <a:srgbClr val="000000"/>
                </a:solidFill>
                <a:latin typeface="Calibri Light"/>
                <a:ea typeface="微软雅黑" pitchFamily="34" charset="-122"/>
              </a:rPr>
              <a:t>我常常征求别人的意见</a:t>
            </a:r>
          </a:p>
        </p:txBody>
      </p:sp>
      <p:sp>
        <p:nvSpPr>
          <p:cNvPr id="139268" name="矩形 23"/>
          <p:cNvSpPr>
            <a:spLocks noChangeArrowheads="1"/>
          </p:cNvSpPr>
          <p:nvPr/>
        </p:nvSpPr>
        <p:spPr bwMode="auto">
          <a:xfrm>
            <a:off x="1681163" y="5688013"/>
            <a:ext cx="2376487" cy="831850"/>
          </a:xfrm>
          <a:prstGeom prst="rect">
            <a:avLst/>
          </a:prstGeom>
          <a:noFill/>
          <a:ln w="9525">
            <a:noFill/>
            <a:miter lim="800000"/>
            <a:headEnd/>
            <a:tailEnd/>
          </a:ln>
        </p:spPr>
        <p:txBody>
          <a:bodyPr>
            <a:spAutoFit/>
          </a:bodyPr>
          <a:lstStyle/>
          <a:p>
            <a:r>
              <a:rPr lang="zh-CN" altLang="en-US" sz="1600">
                <a:solidFill>
                  <a:srgbClr val="000000"/>
                </a:solidFill>
                <a:latin typeface="Calibri Light"/>
                <a:ea typeface="微软雅黑" pitchFamily="34" charset="-122"/>
              </a:rPr>
              <a:t>当我发现我非常喜欢的新品</a:t>
            </a:r>
            <a:r>
              <a:rPr lang="en-US" altLang="zh-CN" sz="1600">
                <a:solidFill>
                  <a:srgbClr val="000000"/>
                </a:solidFill>
                <a:latin typeface="Calibri Light"/>
                <a:ea typeface="微软雅黑" pitchFamily="34" charset="-122"/>
              </a:rPr>
              <a:t>,</a:t>
            </a:r>
            <a:r>
              <a:rPr lang="zh-CN" altLang="en-US" sz="1600">
                <a:solidFill>
                  <a:srgbClr val="000000"/>
                </a:solidFill>
                <a:latin typeface="Calibri Light"/>
                <a:ea typeface="微软雅黑" pitchFamily="34" charset="-122"/>
              </a:rPr>
              <a:t>我一定要和别人分享我的发现</a:t>
            </a:r>
          </a:p>
        </p:txBody>
      </p:sp>
      <p:sp>
        <p:nvSpPr>
          <p:cNvPr id="25" name="矩形 24"/>
          <p:cNvSpPr/>
          <p:nvPr/>
        </p:nvSpPr>
        <p:spPr>
          <a:xfrm>
            <a:off x="1308100" y="1557338"/>
            <a:ext cx="4295775" cy="161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defTabSz="914377" fontAlgn="auto">
              <a:spcBef>
                <a:spcPts val="0"/>
              </a:spcBef>
              <a:spcAft>
                <a:spcPts val="0"/>
              </a:spcAft>
              <a:buFont typeface="Wingdings" panose="05000000000000000000" pitchFamily="2" charset="2"/>
              <a:buChar char="l"/>
              <a:defRPr/>
            </a:pPr>
            <a:r>
              <a:rPr lang="zh-CN" altLang="en-US" sz="1400" b="1" dirty="0">
                <a:solidFill>
                  <a:srgbClr val="000000"/>
                </a:solidFill>
                <a:latin typeface="微软雅黑" panose="020B0503020204020204" pitchFamily="34" charset="-122"/>
              </a:rPr>
              <a:t>购买决策前的消费态度（</a:t>
            </a:r>
            <a:r>
              <a:rPr lang="en-US" altLang="zh-CN" sz="1400" b="1" dirty="0">
                <a:solidFill>
                  <a:srgbClr val="000000"/>
                </a:solidFill>
                <a:latin typeface="微软雅黑" panose="020B0503020204020204" pitchFamily="34" charset="-122"/>
              </a:rPr>
              <a:t>%</a:t>
            </a:r>
            <a:r>
              <a:rPr lang="zh-CN" altLang="en-US" sz="1400" b="1" dirty="0">
                <a:solidFill>
                  <a:srgbClr val="000000"/>
                </a:solidFill>
                <a:latin typeface="微软雅黑" panose="020B0503020204020204" pitchFamily="34" charset="-122"/>
              </a:rPr>
              <a:t>）</a:t>
            </a:r>
            <a:endParaRPr lang="zh-CN" altLang="en-US" sz="1400" b="1" dirty="0">
              <a:solidFill>
                <a:srgbClr val="000000"/>
              </a:solidFill>
              <a:latin typeface="微软雅黑" panose="020B0503020204020204" pitchFamily="34" charset="-122"/>
            </a:endParaRPr>
          </a:p>
        </p:txBody>
      </p:sp>
      <p:sp>
        <p:nvSpPr>
          <p:cNvPr id="26" name="矩形 25"/>
          <p:cNvSpPr/>
          <p:nvPr/>
        </p:nvSpPr>
        <p:spPr>
          <a:xfrm>
            <a:off x="1206500" y="4116388"/>
            <a:ext cx="4295775" cy="161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defTabSz="914377" fontAlgn="auto">
              <a:spcBef>
                <a:spcPts val="0"/>
              </a:spcBef>
              <a:spcAft>
                <a:spcPts val="0"/>
              </a:spcAft>
              <a:buFont typeface="Wingdings" panose="05000000000000000000" pitchFamily="2" charset="2"/>
              <a:buChar char="l"/>
              <a:defRPr/>
            </a:pPr>
            <a:r>
              <a:rPr lang="zh-CN" altLang="en-US" sz="1400" b="1" dirty="0">
                <a:solidFill>
                  <a:srgbClr val="000000"/>
                </a:solidFill>
                <a:latin typeface="微软雅黑" panose="020B0503020204020204" pitchFamily="34" charset="-122"/>
              </a:rPr>
              <a:t>购买后分享体验的消费者比例（</a:t>
            </a:r>
            <a:r>
              <a:rPr lang="en-US" altLang="zh-CN" sz="1400" b="1" dirty="0">
                <a:solidFill>
                  <a:srgbClr val="000000"/>
                </a:solidFill>
                <a:latin typeface="微软雅黑" panose="020B0503020204020204" pitchFamily="34" charset="-122"/>
              </a:rPr>
              <a:t>%</a:t>
            </a:r>
            <a:r>
              <a:rPr lang="zh-CN" altLang="en-US" sz="1400" b="1" dirty="0">
                <a:solidFill>
                  <a:srgbClr val="000000"/>
                </a:solidFill>
                <a:latin typeface="微软雅黑" panose="020B0503020204020204" pitchFamily="34" charset="-122"/>
              </a:rPr>
              <a:t>）</a:t>
            </a:r>
            <a:endParaRPr lang="zh-CN" altLang="en-US" sz="1400" b="1" dirty="0">
              <a:solidFill>
                <a:srgbClr val="000000"/>
              </a:solidFill>
              <a:latin typeface="微软雅黑" panose="020B0503020204020204" pitchFamily="34" charset="-122"/>
            </a:endParaRPr>
          </a:p>
        </p:txBody>
      </p:sp>
      <p:sp>
        <p:nvSpPr>
          <p:cNvPr id="139271" name="矩形 19"/>
          <p:cNvSpPr>
            <a:spLocks noChangeArrowheads="1"/>
          </p:cNvSpPr>
          <p:nvPr/>
        </p:nvSpPr>
        <p:spPr bwMode="auto">
          <a:xfrm>
            <a:off x="6061075" y="6456363"/>
            <a:ext cx="4799013" cy="277812"/>
          </a:xfrm>
          <a:prstGeom prst="rect">
            <a:avLst/>
          </a:prstGeom>
          <a:noFill/>
          <a:ln w="9525">
            <a:noFill/>
            <a:miter lim="800000"/>
            <a:headEnd/>
            <a:tailEnd/>
          </a:ln>
        </p:spPr>
        <p:txBody>
          <a:bodyPr wrap="none">
            <a:spAutoFit/>
          </a:bodyPr>
          <a:lstStyle/>
          <a:p>
            <a:pPr algn="r" fontAlgn="ctr"/>
            <a:r>
              <a:rPr lang="zh-CN" altLang="en-US" sz="1200">
                <a:solidFill>
                  <a:srgbClr val="595959"/>
                </a:solidFill>
                <a:latin typeface="Calibri Light"/>
                <a:ea typeface="微软雅黑" pitchFamily="34" charset="-122"/>
                <a:cs typeface="Times New Roman" pitchFamily="18" charset="0"/>
              </a:rPr>
              <a:t>数据来源：  </a:t>
            </a:r>
            <a:r>
              <a:rPr lang="en-US" altLang="zh-CN" sz="1200">
                <a:solidFill>
                  <a:srgbClr val="595959"/>
                </a:solidFill>
                <a:latin typeface="Calibri Light"/>
                <a:ea typeface="微软雅黑" pitchFamily="34" charset="-122"/>
                <a:cs typeface="Times New Roman" pitchFamily="18" charset="0"/>
              </a:rPr>
              <a:t>CTR</a:t>
            </a:r>
            <a:r>
              <a:rPr lang="zh-CN" altLang="en-US" sz="1200">
                <a:solidFill>
                  <a:srgbClr val="595959"/>
                </a:solidFill>
                <a:latin typeface="Calibri Light"/>
                <a:ea typeface="微软雅黑" pitchFamily="34" charset="-122"/>
                <a:cs typeface="Times New Roman" pitchFamily="18" charset="0"/>
              </a:rPr>
              <a:t>中国城市居民调查</a:t>
            </a:r>
            <a:r>
              <a:rPr lang="en-US" altLang="zh-CN" sz="1200">
                <a:solidFill>
                  <a:srgbClr val="595959"/>
                </a:solidFill>
                <a:latin typeface="Calibri Light"/>
                <a:ea typeface="微软雅黑" pitchFamily="34" charset="-122"/>
                <a:cs typeface="Times New Roman" pitchFamily="18" charset="0"/>
              </a:rPr>
              <a:t>CNRS-TGI  2015 01-12 , 60</a:t>
            </a:r>
            <a:r>
              <a:rPr lang="zh-CN" altLang="en-US" sz="1200">
                <a:solidFill>
                  <a:srgbClr val="595959"/>
                </a:solidFill>
                <a:latin typeface="Calibri Light"/>
                <a:ea typeface="微软雅黑" pitchFamily="34" charset="-122"/>
                <a:cs typeface="Times New Roman" pitchFamily="18" charset="0"/>
              </a:rPr>
              <a:t>城市</a:t>
            </a:r>
            <a:endParaRPr lang="en-US" altLang="zh-CN" sz="1200">
              <a:solidFill>
                <a:srgbClr val="595959"/>
              </a:solidFill>
              <a:latin typeface="Calibri Light"/>
              <a:ea typeface="微软雅黑" pitchFamily="34" charset="-122"/>
              <a:cs typeface="Times New Roman" pitchFamily="18" charset="0"/>
            </a:endParaRPr>
          </a:p>
        </p:txBody>
      </p:sp>
      <p:sp>
        <p:nvSpPr>
          <p:cNvPr id="18" name="标题 8"/>
          <p:cNvSpPr txBox="1">
            <a:spLocks/>
          </p:cNvSpPr>
          <p:nvPr/>
        </p:nvSpPr>
        <p:spPr>
          <a:xfrm>
            <a:off x="623888" y="200025"/>
            <a:ext cx="11137900" cy="885825"/>
          </a:xfrm>
          <a:prstGeom prst="rect">
            <a:avLst/>
          </a:prstGeom>
        </p:spPr>
        <p:txBody>
          <a:bodyPr lIns="121917" tIns="60958" rIns="121917" bIns="60958" anchor="b">
            <a:normAutofit fontScale="92500"/>
          </a:bodyPr>
          <a:lstStyle>
            <a:lvl1pPr algn="l" defTabSz="914356" rtl="0" eaLnBrk="1" latinLnBrk="0" hangingPunct="1">
              <a:spcBef>
                <a:spcPct val="0"/>
              </a:spcBef>
              <a:buNone/>
              <a:defRPr sz="3600" b="1" kern="1200">
                <a:solidFill>
                  <a:schemeClr val="tx1"/>
                </a:solidFill>
                <a:latin typeface="微软雅黑" panose="020B0503020204020204" pitchFamily="34" charset="-122"/>
                <a:ea typeface="微软雅黑" panose="020B0503020204020204" pitchFamily="34" charset="-122"/>
                <a:cs typeface="Times New Roman" pitchFamily="18" charset="0"/>
              </a:defRPr>
            </a:lvl1pPr>
          </a:lstStyle>
          <a:p>
            <a:pPr fontAlgn="auto">
              <a:spcAft>
                <a:spcPts val="0"/>
              </a:spcAft>
              <a:defRPr/>
            </a:pPr>
            <a:r>
              <a:rPr lang="zh-CN" altLang="en-US" sz="3200" dirty="0" smtClean="0"/>
              <a:t>为什么他们是风向标</a:t>
            </a:r>
            <a:r>
              <a:rPr lang="zh-CN" altLang="en-US" sz="3200" dirty="0"/>
              <a:t>人群</a:t>
            </a:r>
            <a:r>
              <a:rPr lang="zh-CN" altLang="en-US" sz="3200" dirty="0" smtClean="0">
                <a:solidFill>
                  <a:srgbClr val="000000"/>
                </a:solidFill>
              </a:rPr>
              <a:t>？ 乐分享属性的意见领袖和口碑冠军</a:t>
            </a:r>
            <a:endParaRPr lang="zh-CN" altLang="en-US" sz="2400" dirty="0">
              <a:solidFill>
                <a:srgbClr val="717171"/>
              </a:solidFill>
            </a:endParaRPr>
          </a:p>
        </p:txBody>
      </p:sp>
      <p:graphicFrame>
        <p:nvGraphicFramePr>
          <p:cNvPr id="139273" name="图表 26"/>
          <p:cNvGraphicFramePr>
            <a:graphicFrameLocks/>
          </p:cNvGraphicFramePr>
          <p:nvPr/>
        </p:nvGraphicFramePr>
        <p:xfrm>
          <a:off x="1630363" y="1735138"/>
          <a:ext cx="1865312" cy="1658937"/>
        </p:xfrm>
        <a:graphic>
          <a:graphicData uri="http://schemas.openxmlformats.org/presentationml/2006/ole">
            <p:oleObj spid="_x0000_s139273" r:id="rId3" imgW="1871634" imgH="1658256" progId="Excel.Chart.8">
              <p:embed/>
            </p:oleObj>
          </a:graphicData>
        </a:graphic>
      </p:graphicFrame>
      <p:graphicFrame>
        <p:nvGraphicFramePr>
          <p:cNvPr id="139274" name="图表 27"/>
          <p:cNvGraphicFramePr>
            <a:graphicFrameLocks/>
          </p:cNvGraphicFramePr>
          <p:nvPr/>
        </p:nvGraphicFramePr>
        <p:xfrm>
          <a:off x="3225800" y="1735138"/>
          <a:ext cx="1865313" cy="1658937"/>
        </p:xfrm>
        <a:graphic>
          <a:graphicData uri="http://schemas.openxmlformats.org/presentationml/2006/ole">
            <p:oleObj spid="_x0000_s139274" r:id="rId4" imgW="1865538" imgH="1658256" progId="Excel.Chart.8">
              <p:embed/>
            </p:oleObj>
          </a:graphicData>
        </a:graphic>
      </p:graphicFrame>
      <p:graphicFrame>
        <p:nvGraphicFramePr>
          <p:cNvPr id="139275" name="图表 28"/>
          <p:cNvGraphicFramePr>
            <a:graphicFrameLocks/>
          </p:cNvGraphicFramePr>
          <p:nvPr/>
        </p:nvGraphicFramePr>
        <p:xfrm>
          <a:off x="1522413" y="4237038"/>
          <a:ext cx="1866900" cy="1658937"/>
        </p:xfrm>
        <a:graphic>
          <a:graphicData uri="http://schemas.openxmlformats.org/presentationml/2006/ole">
            <p:oleObj spid="_x0000_s139275" r:id="rId5" imgW="1865538" imgH="1658256" progId="Excel.Chart.8">
              <p:embed/>
            </p:oleObj>
          </a:graphicData>
        </a:graphic>
      </p:graphicFrame>
      <p:graphicFrame>
        <p:nvGraphicFramePr>
          <p:cNvPr id="139276" name="图表 29"/>
          <p:cNvGraphicFramePr>
            <a:graphicFrameLocks/>
          </p:cNvGraphicFramePr>
          <p:nvPr/>
        </p:nvGraphicFramePr>
        <p:xfrm>
          <a:off x="3117850" y="4237038"/>
          <a:ext cx="1866900" cy="1658937"/>
        </p:xfrm>
        <a:graphic>
          <a:graphicData uri="http://schemas.openxmlformats.org/presentationml/2006/ole">
            <p:oleObj spid="_x0000_s139276" r:id="rId6" imgW="1865538" imgH="1658256" progId="Excel.Chart.8">
              <p:embed/>
            </p:oleObj>
          </a:graphicData>
        </a:graphic>
      </p:graphicFrame>
      <p:sp>
        <p:nvSpPr>
          <p:cNvPr id="19" name="标题 1"/>
          <p:cNvSpPr>
            <a:spLocks noGrp="1"/>
          </p:cNvSpPr>
          <p:nvPr>
            <p:ph type="title"/>
          </p:nvPr>
        </p:nvSpPr>
        <p:spPr>
          <a:xfrm>
            <a:off x="6102350" y="1728788"/>
            <a:ext cx="4525963" cy="911225"/>
          </a:xfrm>
        </p:spPr>
        <p:txBody>
          <a:bodyPr>
            <a:normAutofit fontScale="90000"/>
          </a:bodyPr>
          <a:lstStyle/>
          <a:p>
            <a:pPr algn="ctr" defTabSz="914309" fontAlgn="auto">
              <a:lnSpc>
                <a:spcPct val="150000"/>
              </a:lnSpc>
              <a:spcAft>
                <a:spcPts val="0"/>
              </a:spcAft>
              <a:defRPr/>
            </a:pPr>
            <a:r>
              <a:rPr lang="zh-CN" altLang="en-US" dirty="0" smtClean="0"/>
              <a:t>消费市场</a:t>
            </a:r>
            <a:r>
              <a:rPr lang="en-US" altLang="zh-CN" dirty="0" smtClean="0"/>
              <a:t/>
            </a:r>
            <a:br>
              <a:rPr lang="en-US" altLang="zh-CN" dirty="0" smtClean="0"/>
            </a:br>
            <a:r>
              <a:rPr lang="zh-CN" altLang="en-US" dirty="0" smtClean="0"/>
              <a:t>风向标人群</a:t>
            </a:r>
            <a:endParaRPr lang="zh-CN" altLang="en-US" dirty="0"/>
          </a:p>
        </p:txBody>
      </p:sp>
      <p:sp>
        <p:nvSpPr>
          <p:cNvPr id="21" name="KSO_Shape"/>
          <p:cNvSpPr>
            <a:spLocks/>
          </p:cNvSpPr>
          <p:nvPr/>
        </p:nvSpPr>
        <p:spPr bwMode="auto">
          <a:xfrm>
            <a:off x="6780213" y="3976688"/>
            <a:ext cx="4752975" cy="1333500"/>
          </a:xfrm>
          <a:custGeom>
            <a:avLst/>
            <a:gdLst/>
            <a:ahLst/>
            <a:cxnLst/>
            <a:rect l="0" t="0" r="r" b="b"/>
            <a:pathLst>
              <a:path w="2608263" h="1778000">
                <a:moveTo>
                  <a:pt x="1956693" y="381000"/>
                </a:moveTo>
                <a:lnTo>
                  <a:pt x="1966217" y="381397"/>
                </a:lnTo>
                <a:lnTo>
                  <a:pt x="1975740" y="382192"/>
                </a:lnTo>
                <a:lnTo>
                  <a:pt x="1986057" y="382986"/>
                </a:lnTo>
                <a:lnTo>
                  <a:pt x="1995581" y="384575"/>
                </a:lnTo>
                <a:lnTo>
                  <a:pt x="2005501" y="386562"/>
                </a:lnTo>
                <a:lnTo>
                  <a:pt x="2015819" y="388548"/>
                </a:lnTo>
                <a:lnTo>
                  <a:pt x="2025739" y="391726"/>
                </a:lnTo>
                <a:lnTo>
                  <a:pt x="2035263" y="394904"/>
                </a:lnTo>
                <a:lnTo>
                  <a:pt x="2045580" y="398876"/>
                </a:lnTo>
                <a:lnTo>
                  <a:pt x="2055500" y="403246"/>
                </a:lnTo>
                <a:lnTo>
                  <a:pt x="2065421" y="408807"/>
                </a:lnTo>
                <a:lnTo>
                  <a:pt x="2075738" y="414766"/>
                </a:lnTo>
                <a:lnTo>
                  <a:pt x="2101927" y="438998"/>
                </a:lnTo>
                <a:lnTo>
                  <a:pt x="2143990" y="446149"/>
                </a:lnTo>
                <a:lnTo>
                  <a:pt x="2147958" y="448929"/>
                </a:lnTo>
                <a:lnTo>
                  <a:pt x="2151926" y="452107"/>
                </a:lnTo>
                <a:lnTo>
                  <a:pt x="2155497" y="455683"/>
                </a:lnTo>
                <a:lnTo>
                  <a:pt x="2158672" y="459655"/>
                </a:lnTo>
                <a:lnTo>
                  <a:pt x="2161847" y="464025"/>
                </a:lnTo>
                <a:lnTo>
                  <a:pt x="2164624" y="468395"/>
                </a:lnTo>
                <a:lnTo>
                  <a:pt x="2169783" y="477531"/>
                </a:lnTo>
                <a:lnTo>
                  <a:pt x="2173751" y="485874"/>
                </a:lnTo>
                <a:lnTo>
                  <a:pt x="2176529" y="493024"/>
                </a:lnTo>
                <a:lnTo>
                  <a:pt x="2179306" y="499380"/>
                </a:lnTo>
                <a:lnTo>
                  <a:pt x="2182878" y="516064"/>
                </a:lnTo>
                <a:lnTo>
                  <a:pt x="2186052" y="532749"/>
                </a:lnTo>
                <a:lnTo>
                  <a:pt x="2188036" y="549433"/>
                </a:lnTo>
                <a:lnTo>
                  <a:pt x="2189623" y="565720"/>
                </a:lnTo>
                <a:lnTo>
                  <a:pt x="2190417" y="582008"/>
                </a:lnTo>
                <a:lnTo>
                  <a:pt x="2190814" y="598692"/>
                </a:lnTo>
                <a:lnTo>
                  <a:pt x="2190814" y="615376"/>
                </a:lnTo>
                <a:lnTo>
                  <a:pt x="2190417" y="632855"/>
                </a:lnTo>
                <a:lnTo>
                  <a:pt x="2190020" y="642389"/>
                </a:lnTo>
                <a:lnTo>
                  <a:pt x="2188830" y="656293"/>
                </a:lnTo>
                <a:lnTo>
                  <a:pt x="2185259" y="692840"/>
                </a:lnTo>
                <a:lnTo>
                  <a:pt x="2183671" y="711908"/>
                </a:lnTo>
                <a:lnTo>
                  <a:pt x="2182878" y="730578"/>
                </a:lnTo>
                <a:lnTo>
                  <a:pt x="2182084" y="746468"/>
                </a:lnTo>
                <a:lnTo>
                  <a:pt x="2182481" y="753221"/>
                </a:lnTo>
                <a:lnTo>
                  <a:pt x="2182878" y="758386"/>
                </a:lnTo>
                <a:lnTo>
                  <a:pt x="2183671" y="765139"/>
                </a:lnTo>
                <a:lnTo>
                  <a:pt x="2184862" y="771098"/>
                </a:lnTo>
                <a:lnTo>
                  <a:pt x="2186449" y="775865"/>
                </a:lnTo>
                <a:lnTo>
                  <a:pt x="2188433" y="779837"/>
                </a:lnTo>
                <a:lnTo>
                  <a:pt x="2192798" y="787782"/>
                </a:lnTo>
                <a:lnTo>
                  <a:pt x="2195179" y="792152"/>
                </a:lnTo>
                <a:lnTo>
                  <a:pt x="2198353" y="798508"/>
                </a:lnTo>
                <a:lnTo>
                  <a:pt x="2200734" y="804069"/>
                </a:lnTo>
                <a:lnTo>
                  <a:pt x="2202719" y="810028"/>
                </a:lnTo>
                <a:lnTo>
                  <a:pt x="2204306" y="815987"/>
                </a:lnTo>
                <a:lnTo>
                  <a:pt x="2205496" y="822343"/>
                </a:lnTo>
                <a:lnTo>
                  <a:pt x="2206687" y="829096"/>
                </a:lnTo>
                <a:lnTo>
                  <a:pt x="2207480" y="835452"/>
                </a:lnTo>
                <a:lnTo>
                  <a:pt x="2207877" y="842205"/>
                </a:lnTo>
                <a:lnTo>
                  <a:pt x="2207877" y="848561"/>
                </a:lnTo>
                <a:lnTo>
                  <a:pt x="2207480" y="862465"/>
                </a:lnTo>
                <a:lnTo>
                  <a:pt x="2206290" y="875177"/>
                </a:lnTo>
                <a:lnTo>
                  <a:pt x="2204306" y="887889"/>
                </a:lnTo>
                <a:lnTo>
                  <a:pt x="2202321" y="899806"/>
                </a:lnTo>
                <a:lnTo>
                  <a:pt x="2199544" y="913312"/>
                </a:lnTo>
                <a:lnTo>
                  <a:pt x="2197560" y="920463"/>
                </a:lnTo>
                <a:lnTo>
                  <a:pt x="2195179" y="927613"/>
                </a:lnTo>
                <a:lnTo>
                  <a:pt x="2192798" y="934367"/>
                </a:lnTo>
                <a:lnTo>
                  <a:pt x="2190020" y="941517"/>
                </a:lnTo>
                <a:lnTo>
                  <a:pt x="2186846" y="947873"/>
                </a:lnTo>
                <a:lnTo>
                  <a:pt x="2183275" y="953037"/>
                </a:lnTo>
                <a:lnTo>
                  <a:pt x="2181291" y="955818"/>
                </a:lnTo>
                <a:lnTo>
                  <a:pt x="2178909" y="958201"/>
                </a:lnTo>
                <a:lnTo>
                  <a:pt x="2176132" y="960188"/>
                </a:lnTo>
                <a:lnTo>
                  <a:pt x="2173354" y="961777"/>
                </a:lnTo>
                <a:lnTo>
                  <a:pt x="2167799" y="965749"/>
                </a:lnTo>
                <a:lnTo>
                  <a:pt x="2162243" y="968530"/>
                </a:lnTo>
                <a:lnTo>
                  <a:pt x="2156291" y="971708"/>
                </a:lnTo>
                <a:lnTo>
                  <a:pt x="2151133" y="975283"/>
                </a:lnTo>
                <a:lnTo>
                  <a:pt x="2147958" y="977269"/>
                </a:lnTo>
                <a:lnTo>
                  <a:pt x="2145974" y="979653"/>
                </a:lnTo>
                <a:lnTo>
                  <a:pt x="2143593" y="982434"/>
                </a:lnTo>
                <a:lnTo>
                  <a:pt x="2142006" y="985612"/>
                </a:lnTo>
                <a:lnTo>
                  <a:pt x="2139625" y="990379"/>
                </a:lnTo>
                <a:lnTo>
                  <a:pt x="2137641" y="995543"/>
                </a:lnTo>
                <a:lnTo>
                  <a:pt x="2136450" y="1000707"/>
                </a:lnTo>
                <a:lnTo>
                  <a:pt x="2135260" y="1005871"/>
                </a:lnTo>
                <a:lnTo>
                  <a:pt x="2134466" y="1011433"/>
                </a:lnTo>
                <a:lnTo>
                  <a:pt x="2133673" y="1016597"/>
                </a:lnTo>
                <a:lnTo>
                  <a:pt x="2132879" y="1028514"/>
                </a:lnTo>
                <a:lnTo>
                  <a:pt x="2132085" y="1039637"/>
                </a:lnTo>
                <a:lnTo>
                  <a:pt x="2131292" y="1051158"/>
                </a:lnTo>
                <a:lnTo>
                  <a:pt x="2130895" y="1056719"/>
                </a:lnTo>
                <a:lnTo>
                  <a:pt x="2130101" y="1061883"/>
                </a:lnTo>
                <a:lnTo>
                  <a:pt x="2128911" y="1067445"/>
                </a:lnTo>
                <a:lnTo>
                  <a:pt x="2127721" y="1072212"/>
                </a:lnTo>
                <a:lnTo>
                  <a:pt x="2125736" y="1078170"/>
                </a:lnTo>
                <a:lnTo>
                  <a:pt x="2123355" y="1082937"/>
                </a:lnTo>
                <a:lnTo>
                  <a:pt x="2120578" y="1087307"/>
                </a:lnTo>
                <a:lnTo>
                  <a:pt x="2117800" y="1091280"/>
                </a:lnTo>
                <a:lnTo>
                  <a:pt x="2112245" y="1098430"/>
                </a:lnTo>
                <a:lnTo>
                  <a:pt x="2106293" y="1105183"/>
                </a:lnTo>
                <a:lnTo>
                  <a:pt x="2103515" y="1109156"/>
                </a:lnTo>
                <a:lnTo>
                  <a:pt x="2101134" y="1112731"/>
                </a:lnTo>
                <a:lnTo>
                  <a:pt x="2098356" y="1116703"/>
                </a:lnTo>
                <a:lnTo>
                  <a:pt x="2096372" y="1121470"/>
                </a:lnTo>
                <a:lnTo>
                  <a:pt x="2093991" y="1126237"/>
                </a:lnTo>
                <a:lnTo>
                  <a:pt x="2092801" y="1131799"/>
                </a:lnTo>
                <a:lnTo>
                  <a:pt x="2091610" y="1138155"/>
                </a:lnTo>
                <a:lnTo>
                  <a:pt x="2090817" y="1145305"/>
                </a:lnTo>
                <a:lnTo>
                  <a:pt x="2127721" y="1150470"/>
                </a:lnTo>
                <a:lnTo>
                  <a:pt x="2138435" y="1173907"/>
                </a:lnTo>
                <a:lnTo>
                  <a:pt x="2144783" y="1187016"/>
                </a:lnTo>
                <a:lnTo>
                  <a:pt x="2152323" y="1201317"/>
                </a:lnTo>
                <a:lnTo>
                  <a:pt x="2159863" y="1214426"/>
                </a:lnTo>
                <a:lnTo>
                  <a:pt x="2163831" y="1220782"/>
                </a:lnTo>
                <a:lnTo>
                  <a:pt x="2167799" y="1226741"/>
                </a:lnTo>
                <a:lnTo>
                  <a:pt x="2171767" y="1231905"/>
                </a:lnTo>
                <a:lnTo>
                  <a:pt x="2175735" y="1236672"/>
                </a:lnTo>
                <a:lnTo>
                  <a:pt x="2180497" y="1240645"/>
                </a:lnTo>
                <a:lnTo>
                  <a:pt x="2184862" y="1243823"/>
                </a:lnTo>
                <a:lnTo>
                  <a:pt x="2241606" y="1259713"/>
                </a:lnTo>
                <a:lnTo>
                  <a:pt x="2293192" y="1281164"/>
                </a:lnTo>
                <a:lnTo>
                  <a:pt x="2345572" y="1303807"/>
                </a:lnTo>
                <a:lnTo>
                  <a:pt x="2397951" y="1326053"/>
                </a:lnTo>
                <a:lnTo>
                  <a:pt x="2449140" y="1347902"/>
                </a:lnTo>
                <a:lnTo>
                  <a:pt x="2461045" y="1352669"/>
                </a:lnTo>
                <a:lnTo>
                  <a:pt x="2472552" y="1356641"/>
                </a:lnTo>
                <a:lnTo>
                  <a:pt x="2496361" y="1365381"/>
                </a:lnTo>
                <a:lnTo>
                  <a:pt x="2519773" y="1373723"/>
                </a:lnTo>
                <a:lnTo>
                  <a:pt x="2530884" y="1378093"/>
                </a:lnTo>
                <a:lnTo>
                  <a:pt x="2541995" y="1382860"/>
                </a:lnTo>
                <a:lnTo>
                  <a:pt x="2552312" y="1388421"/>
                </a:lnTo>
                <a:lnTo>
                  <a:pt x="2562233" y="1394380"/>
                </a:lnTo>
                <a:lnTo>
                  <a:pt x="2566597" y="1397558"/>
                </a:lnTo>
                <a:lnTo>
                  <a:pt x="2571756" y="1400736"/>
                </a:lnTo>
                <a:lnTo>
                  <a:pt x="2576121" y="1404311"/>
                </a:lnTo>
                <a:lnTo>
                  <a:pt x="2580089" y="1407886"/>
                </a:lnTo>
                <a:lnTo>
                  <a:pt x="2584057" y="1411859"/>
                </a:lnTo>
                <a:lnTo>
                  <a:pt x="2587629" y="1416228"/>
                </a:lnTo>
                <a:lnTo>
                  <a:pt x="2591200" y="1420598"/>
                </a:lnTo>
                <a:lnTo>
                  <a:pt x="2594375" y="1425365"/>
                </a:lnTo>
                <a:lnTo>
                  <a:pt x="2597946" y="1430132"/>
                </a:lnTo>
                <a:lnTo>
                  <a:pt x="2600723" y="1435296"/>
                </a:lnTo>
                <a:lnTo>
                  <a:pt x="2603105" y="1440858"/>
                </a:lnTo>
                <a:lnTo>
                  <a:pt x="2605089" y="1446817"/>
                </a:lnTo>
                <a:lnTo>
                  <a:pt x="2605485" y="1465487"/>
                </a:lnTo>
                <a:lnTo>
                  <a:pt x="2605882" y="1488528"/>
                </a:lnTo>
                <a:lnTo>
                  <a:pt x="2607073" y="1542951"/>
                </a:lnTo>
                <a:lnTo>
                  <a:pt x="2608263" y="1599757"/>
                </a:lnTo>
                <a:lnTo>
                  <a:pt x="2608263" y="1625975"/>
                </a:lnTo>
                <a:lnTo>
                  <a:pt x="2608263" y="1649413"/>
                </a:lnTo>
                <a:lnTo>
                  <a:pt x="2308271" y="1649413"/>
                </a:lnTo>
                <a:lnTo>
                  <a:pt x="2307081" y="1594196"/>
                </a:lnTo>
                <a:lnTo>
                  <a:pt x="2305493" y="1538581"/>
                </a:lnTo>
                <a:lnTo>
                  <a:pt x="2305097" y="1494486"/>
                </a:lnTo>
                <a:lnTo>
                  <a:pt x="2305097" y="1482172"/>
                </a:lnTo>
                <a:lnTo>
                  <a:pt x="2301129" y="1470651"/>
                </a:lnTo>
                <a:lnTo>
                  <a:pt x="2297557" y="1461117"/>
                </a:lnTo>
                <a:lnTo>
                  <a:pt x="2293986" y="1451981"/>
                </a:lnTo>
                <a:lnTo>
                  <a:pt x="2289224" y="1443241"/>
                </a:lnTo>
                <a:lnTo>
                  <a:pt x="2284859" y="1434899"/>
                </a:lnTo>
                <a:lnTo>
                  <a:pt x="2280097" y="1426954"/>
                </a:lnTo>
                <a:lnTo>
                  <a:pt x="2275335" y="1419406"/>
                </a:lnTo>
                <a:lnTo>
                  <a:pt x="2270177" y="1411859"/>
                </a:lnTo>
                <a:lnTo>
                  <a:pt x="2264621" y="1405106"/>
                </a:lnTo>
                <a:lnTo>
                  <a:pt x="2258669" y="1398352"/>
                </a:lnTo>
                <a:lnTo>
                  <a:pt x="2252717" y="1391996"/>
                </a:lnTo>
                <a:lnTo>
                  <a:pt x="2246765" y="1386435"/>
                </a:lnTo>
                <a:lnTo>
                  <a:pt x="2240416" y="1380079"/>
                </a:lnTo>
                <a:lnTo>
                  <a:pt x="2234067" y="1374915"/>
                </a:lnTo>
                <a:lnTo>
                  <a:pt x="2226924" y="1369750"/>
                </a:lnTo>
                <a:lnTo>
                  <a:pt x="2220178" y="1364983"/>
                </a:lnTo>
                <a:lnTo>
                  <a:pt x="2213433" y="1360217"/>
                </a:lnTo>
                <a:lnTo>
                  <a:pt x="2206290" y="1355450"/>
                </a:lnTo>
                <a:lnTo>
                  <a:pt x="2198750" y="1351080"/>
                </a:lnTo>
                <a:lnTo>
                  <a:pt x="2184465" y="1343532"/>
                </a:lnTo>
                <a:lnTo>
                  <a:pt x="2169386" y="1336382"/>
                </a:lnTo>
                <a:lnTo>
                  <a:pt x="2154307" y="1330026"/>
                </a:lnTo>
                <a:lnTo>
                  <a:pt x="2139228" y="1323670"/>
                </a:lnTo>
                <a:lnTo>
                  <a:pt x="2124546" y="1318108"/>
                </a:lnTo>
                <a:lnTo>
                  <a:pt x="2095578" y="1307780"/>
                </a:lnTo>
                <a:lnTo>
                  <a:pt x="2067405" y="1297849"/>
                </a:lnTo>
                <a:lnTo>
                  <a:pt x="2053913" y="1293082"/>
                </a:lnTo>
                <a:lnTo>
                  <a:pt x="2041215" y="1287917"/>
                </a:lnTo>
                <a:lnTo>
                  <a:pt x="1985264" y="1263685"/>
                </a:lnTo>
                <a:lnTo>
                  <a:pt x="1926932" y="1239056"/>
                </a:lnTo>
                <a:lnTo>
                  <a:pt x="1840427" y="1202112"/>
                </a:lnTo>
                <a:lnTo>
                  <a:pt x="1797571" y="1183441"/>
                </a:lnTo>
                <a:lnTo>
                  <a:pt x="1755111" y="1166359"/>
                </a:lnTo>
                <a:lnTo>
                  <a:pt x="1762651" y="1150470"/>
                </a:lnTo>
                <a:lnTo>
                  <a:pt x="1790031" y="1143716"/>
                </a:lnTo>
                <a:lnTo>
                  <a:pt x="1788047" y="1138155"/>
                </a:lnTo>
                <a:lnTo>
                  <a:pt x="1786460" y="1132196"/>
                </a:lnTo>
                <a:lnTo>
                  <a:pt x="1784873" y="1127429"/>
                </a:lnTo>
                <a:lnTo>
                  <a:pt x="1782492" y="1123457"/>
                </a:lnTo>
                <a:lnTo>
                  <a:pt x="1780111" y="1119484"/>
                </a:lnTo>
                <a:lnTo>
                  <a:pt x="1777730" y="1115909"/>
                </a:lnTo>
                <a:lnTo>
                  <a:pt x="1772571" y="1109950"/>
                </a:lnTo>
                <a:lnTo>
                  <a:pt x="1767413" y="1103594"/>
                </a:lnTo>
                <a:lnTo>
                  <a:pt x="1762254" y="1097636"/>
                </a:lnTo>
                <a:lnTo>
                  <a:pt x="1759476" y="1094458"/>
                </a:lnTo>
                <a:lnTo>
                  <a:pt x="1757095" y="1091280"/>
                </a:lnTo>
                <a:lnTo>
                  <a:pt x="1755111" y="1087307"/>
                </a:lnTo>
                <a:lnTo>
                  <a:pt x="1753524" y="1082937"/>
                </a:lnTo>
                <a:lnTo>
                  <a:pt x="1743207" y="973694"/>
                </a:lnTo>
                <a:lnTo>
                  <a:pt x="1743207" y="974091"/>
                </a:lnTo>
                <a:lnTo>
                  <a:pt x="1742413" y="974091"/>
                </a:lnTo>
                <a:lnTo>
                  <a:pt x="1739636" y="973694"/>
                </a:lnTo>
                <a:lnTo>
                  <a:pt x="1730112" y="972105"/>
                </a:lnTo>
                <a:lnTo>
                  <a:pt x="1720985" y="969324"/>
                </a:lnTo>
                <a:lnTo>
                  <a:pt x="1717414" y="968133"/>
                </a:lnTo>
                <a:lnTo>
                  <a:pt x="1715033" y="967338"/>
                </a:lnTo>
                <a:lnTo>
                  <a:pt x="1711065" y="963763"/>
                </a:lnTo>
                <a:lnTo>
                  <a:pt x="1707097" y="960188"/>
                </a:lnTo>
                <a:lnTo>
                  <a:pt x="1703129" y="955818"/>
                </a:lnTo>
                <a:lnTo>
                  <a:pt x="1699954" y="950654"/>
                </a:lnTo>
                <a:lnTo>
                  <a:pt x="1697177" y="945490"/>
                </a:lnTo>
                <a:lnTo>
                  <a:pt x="1694399" y="939531"/>
                </a:lnTo>
                <a:lnTo>
                  <a:pt x="1692018" y="932778"/>
                </a:lnTo>
                <a:lnTo>
                  <a:pt x="1689637" y="926422"/>
                </a:lnTo>
                <a:lnTo>
                  <a:pt x="1688050" y="919668"/>
                </a:lnTo>
                <a:lnTo>
                  <a:pt x="1686066" y="912518"/>
                </a:lnTo>
                <a:lnTo>
                  <a:pt x="1683288" y="897423"/>
                </a:lnTo>
                <a:lnTo>
                  <a:pt x="1681304" y="882327"/>
                </a:lnTo>
                <a:lnTo>
                  <a:pt x="1679717" y="867232"/>
                </a:lnTo>
                <a:lnTo>
                  <a:pt x="1684875" y="862465"/>
                </a:lnTo>
                <a:lnTo>
                  <a:pt x="1689637" y="857698"/>
                </a:lnTo>
                <a:lnTo>
                  <a:pt x="1694796" y="851739"/>
                </a:lnTo>
                <a:lnTo>
                  <a:pt x="1699161" y="845780"/>
                </a:lnTo>
                <a:lnTo>
                  <a:pt x="1703525" y="839424"/>
                </a:lnTo>
                <a:lnTo>
                  <a:pt x="1707891" y="832671"/>
                </a:lnTo>
                <a:lnTo>
                  <a:pt x="1711462" y="825918"/>
                </a:lnTo>
                <a:lnTo>
                  <a:pt x="1715033" y="818767"/>
                </a:lnTo>
                <a:lnTo>
                  <a:pt x="1718208" y="811617"/>
                </a:lnTo>
                <a:lnTo>
                  <a:pt x="1720985" y="804466"/>
                </a:lnTo>
                <a:lnTo>
                  <a:pt x="1726144" y="790166"/>
                </a:lnTo>
                <a:lnTo>
                  <a:pt x="1730509" y="776262"/>
                </a:lnTo>
                <a:lnTo>
                  <a:pt x="1734080" y="762755"/>
                </a:lnTo>
                <a:lnTo>
                  <a:pt x="1736858" y="750838"/>
                </a:lnTo>
                <a:lnTo>
                  <a:pt x="1738842" y="740510"/>
                </a:lnTo>
                <a:lnTo>
                  <a:pt x="1742413" y="720647"/>
                </a:lnTo>
                <a:lnTo>
                  <a:pt x="1743604" y="709524"/>
                </a:lnTo>
                <a:lnTo>
                  <a:pt x="1745191" y="698798"/>
                </a:lnTo>
                <a:lnTo>
                  <a:pt x="1746381" y="687278"/>
                </a:lnTo>
                <a:lnTo>
                  <a:pt x="1747175" y="675361"/>
                </a:lnTo>
                <a:lnTo>
                  <a:pt x="1747572" y="663443"/>
                </a:lnTo>
                <a:lnTo>
                  <a:pt x="1747572" y="651129"/>
                </a:lnTo>
                <a:lnTo>
                  <a:pt x="1747175" y="638814"/>
                </a:lnTo>
                <a:lnTo>
                  <a:pt x="1746381" y="626102"/>
                </a:lnTo>
                <a:lnTo>
                  <a:pt x="1744794" y="613787"/>
                </a:lnTo>
                <a:lnTo>
                  <a:pt x="1742810" y="601473"/>
                </a:lnTo>
                <a:lnTo>
                  <a:pt x="1740033" y="589158"/>
                </a:lnTo>
                <a:lnTo>
                  <a:pt x="1736461" y="576843"/>
                </a:lnTo>
                <a:lnTo>
                  <a:pt x="1732096" y="564529"/>
                </a:lnTo>
                <a:lnTo>
                  <a:pt x="1726937" y="553008"/>
                </a:lnTo>
                <a:lnTo>
                  <a:pt x="1723366" y="546255"/>
                </a:lnTo>
                <a:lnTo>
                  <a:pt x="1720192" y="539899"/>
                </a:lnTo>
                <a:lnTo>
                  <a:pt x="1715033" y="530365"/>
                </a:lnTo>
                <a:lnTo>
                  <a:pt x="1712652" y="526393"/>
                </a:lnTo>
                <a:lnTo>
                  <a:pt x="1711859" y="521229"/>
                </a:lnTo>
                <a:lnTo>
                  <a:pt x="1711859" y="516064"/>
                </a:lnTo>
                <a:lnTo>
                  <a:pt x="1711462" y="509708"/>
                </a:lnTo>
                <a:lnTo>
                  <a:pt x="1712255" y="493421"/>
                </a:lnTo>
                <a:lnTo>
                  <a:pt x="1716223" y="486271"/>
                </a:lnTo>
                <a:lnTo>
                  <a:pt x="1720192" y="479915"/>
                </a:lnTo>
                <a:lnTo>
                  <a:pt x="1724557" y="473559"/>
                </a:lnTo>
                <a:lnTo>
                  <a:pt x="1728922" y="467600"/>
                </a:lnTo>
                <a:lnTo>
                  <a:pt x="1734080" y="462039"/>
                </a:lnTo>
                <a:lnTo>
                  <a:pt x="1738842" y="456477"/>
                </a:lnTo>
                <a:lnTo>
                  <a:pt x="1743604" y="451313"/>
                </a:lnTo>
                <a:lnTo>
                  <a:pt x="1748762" y="446546"/>
                </a:lnTo>
                <a:lnTo>
                  <a:pt x="1754318" y="442176"/>
                </a:lnTo>
                <a:lnTo>
                  <a:pt x="1759476" y="438204"/>
                </a:lnTo>
                <a:lnTo>
                  <a:pt x="1765429" y="434231"/>
                </a:lnTo>
                <a:lnTo>
                  <a:pt x="1771381" y="430259"/>
                </a:lnTo>
                <a:lnTo>
                  <a:pt x="1776936" y="427081"/>
                </a:lnTo>
                <a:lnTo>
                  <a:pt x="1782888" y="424300"/>
                </a:lnTo>
                <a:lnTo>
                  <a:pt x="1789634" y="421917"/>
                </a:lnTo>
                <a:lnTo>
                  <a:pt x="1795587" y="419533"/>
                </a:lnTo>
                <a:lnTo>
                  <a:pt x="1820983" y="409999"/>
                </a:lnTo>
                <a:lnTo>
                  <a:pt x="1834871" y="404438"/>
                </a:lnTo>
                <a:lnTo>
                  <a:pt x="1849950" y="399273"/>
                </a:lnTo>
                <a:lnTo>
                  <a:pt x="1865823" y="394506"/>
                </a:lnTo>
                <a:lnTo>
                  <a:pt x="1882886" y="390137"/>
                </a:lnTo>
                <a:lnTo>
                  <a:pt x="1900742" y="386562"/>
                </a:lnTo>
                <a:lnTo>
                  <a:pt x="1909472" y="384973"/>
                </a:lnTo>
                <a:lnTo>
                  <a:pt x="1918599" y="383384"/>
                </a:lnTo>
                <a:lnTo>
                  <a:pt x="1927726" y="382589"/>
                </a:lnTo>
                <a:lnTo>
                  <a:pt x="1937249" y="381795"/>
                </a:lnTo>
                <a:lnTo>
                  <a:pt x="1946773" y="381397"/>
                </a:lnTo>
                <a:lnTo>
                  <a:pt x="1956693" y="381000"/>
                </a:lnTo>
                <a:close/>
                <a:moveTo>
                  <a:pt x="674585" y="381000"/>
                </a:moveTo>
                <a:lnTo>
                  <a:pt x="684505" y="381397"/>
                </a:lnTo>
                <a:lnTo>
                  <a:pt x="694029" y="382192"/>
                </a:lnTo>
                <a:lnTo>
                  <a:pt x="703552" y="382986"/>
                </a:lnTo>
                <a:lnTo>
                  <a:pt x="713870" y="384575"/>
                </a:lnTo>
                <a:lnTo>
                  <a:pt x="723790" y="386562"/>
                </a:lnTo>
                <a:lnTo>
                  <a:pt x="733710" y="388548"/>
                </a:lnTo>
                <a:lnTo>
                  <a:pt x="743631" y="391726"/>
                </a:lnTo>
                <a:lnTo>
                  <a:pt x="753551" y="394904"/>
                </a:lnTo>
                <a:lnTo>
                  <a:pt x="763868" y="398876"/>
                </a:lnTo>
                <a:lnTo>
                  <a:pt x="773789" y="403246"/>
                </a:lnTo>
                <a:lnTo>
                  <a:pt x="783709" y="408807"/>
                </a:lnTo>
                <a:lnTo>
                  <a:pt x="793629" y="414766"/>
                </a:lnTo>
                <a:lnTo>
                  <a:pt x="820216" y="438998"/>
                </a:lnTo>
                <a:lnTo>
                  <a:pt x="861088" y="446149"/>
                </a:lnTo>
                <a:lnTo>
                  <a:pt x="863866" y="468792"/>
                </a:lnTo>
                <a:lnTo>
                  <a:pt x="867040" y="491832"/>
                </a:lnTo>
                <a:lnTo>
                  <a:pt x="871008" y="514873"/>
                </a:lnTo>
                <a:lnTo>
                  <a:pt x="876167" y="539105"/>
                </a:lnTo>
                <a:lnTo>
                  <a:pt x="871405" y="548241"/>
                </a:lnTo>
                <a:lnTo>
                  <a:pt x="868231" y="554200"/>
                </a:lnTo>
                <a:lnTo>
                  <a:pt x="864659" y="560556"/>
                </a:lnTo>
                <a:lnTo>
                  <a:pt x="861088" y="568501"/>
                </a:lnTo>
                <a:lnTo>
                  <a:pt x="858310" y="577241"/>
                </a:lnTo>
                <a:lnTo>
                  <a:pt x="855533" y="586377"/>
                </a:lnTo>
                <a:lnTo>
                  <a:pt x="854342" y="591144"/>
                </a:lnTo>
                <a:lnTo>
                  <a:pt x="853548" y="596309"/>
                </a:lnTo>
                <a:lnTo>
                  <a:pt x="853152" y="602267"/>
                </a:lnTo>
                <a:lnTo>
                  <a:pt x="852755" y="607431"/>
                </a:lnTo>
                <a:lnTo>
                  <a:pt x="852755" y="613390"/>
                </a:lnTo>
                <a:lnTo>
                  <a:pt x="853152" y="619349"/>
                </a:lnTo>
                <a:lnTo>
                  <a:pt x="854739" y="642786"/>
                </a:lnTo>
                <a:lnTo>
                  <a:pt x="856723" y="670991"/>
                </a:lnTo>
                <a:lnTo>
                  <a:pt x="857913" y="686087"/>
                </a:lnTo>
                <a:lnTo>
                  <a:pt x="859501" y="700785"/>
                </a:lnTo>
                <a:lnTo>
                  <a:pt x="861485" y="716675"/>
                </a:lnTo>
                <a:lnTo>
                  <a:pt x="863469" y="732167"/>
                </a:lnTo>
                <a:lnTo>
                  <a:pt x="866247" y="748057"/>
                </a:lnTo>
                <a:lnTo>
                  <a:pt x="869818" y="763153"/>
                </a:lnTo>
                <a:lnTo>
                  <a:pt x="873786" y="779043"/>
                </a:lnTo>
                <a:lnTo>
                  <a:pt x="878548" y="793741"/>
                </a:lnTo>
                <a:lnTo>
                  <a:pt x="883706" y="808439"/>
                </a:lnTo>
                <a:lnTo>
                  <a:pt x="886881" y="815589"/>
                </a:lnTo>
                <a:lnTo>
                  <a:pt x="890055" y="822343"/>
                </a:lnTo>
                <a:lnTo>
                  <a:pt x="893230" y="829493"/>
                </a:lnTo>
                <a:lnTo>
                  <a:pt x="896801" y="835849"/>
                </a:lnTo>
                <a:lnTo>
                  <a:pt x="901166" y="842205"/>
                </a:lnTo>
                <a:lnTo>
                  <a:pt x="905134" y="848561"/>
                </a:lnTo>
                <a:lnTo>
                  <a:pt x="909896" y="854520"/>
                </a:lnTo>
                <a:lnTo>
                  <a:pt x="914261" y="860081"/>
                </a:lnTo>
                <a:lnTo>
                  <a:pt x="919420" y="865643"/>
                </a:lnTo>
                <a:lnTo>
                  <a:pt x="924578" y="870807"/>
                </a:lnTo>
                <a:lnTo>
                  <a:pt x="922594" y="885902"/>
                </a:lnTo>
                <a:lnTo>
                  <a:pt x="920213" y="899806"/>
                </a:lnTo>
                <a:lnTo>
                  <a:pt x="917436" y="913312"/>
                </a:lnTo>
                <a:lnTo>
                  <a:pt x="915451" y="920463"/>
                </a:lnTo>
                <a:lnTo>
                  <a:pt x="913467" y="927613"/>
                </a:lnTo>
                <a:lnTo>
                  <a:pt x="911087" y="934367"/>
                </a:lnTo>
                <a:lnTo>
                  <a:pt x="908309" y="941517"/>
                </a:lnTo>
                <a:lnTo>
                  <a:pt x="905134" y="947873"/>
                </a:lnTo>
                <a:lnTo>
                  <a:pt x="901563" y="953037"/>
                </a:lnTo>
                <a:lnTo>
                  <a:pt x="899182" y="955818"/>
                </a:lnTo>
                <a:lnTo>
                  <a:pt x="896801" y="958201"/>
                </a:lnTo>
                <a:lnTo>
                  <a:pt x="894420" y="960188"/>
                </a:lnTo>
                <a:lnTo>
                  <a:pt x="891643" y="961777"/>
                </a:lnTo>
                <a:lnTo>
                  <a:pt x="886087" y="965749"/>
                </a:lnTo>
                <a:lnTo>
                  <a:pt x="880532" y="968530"/>
                </a:lnTo>
                <a:lnTo>
                  <a:pt x="874580" y="971708"/>
                </a:lnTo>
                <a:lnTo>
                  <a:pt x="869024" y="975283"/>
                </a:lnTo>
                <a:lnTo>
                  <a:pt x="866247" y="977269"/>
                </a:lnTo>
                <a:lnTo>
                  <a:pt x="863866" y="979653"/>
                </a:lnTo>
                <a:lnTo>
                  <a:pt x="861881" y="982434"/>
                </a:lnTo>
                <a:lnTo>
                  <a:pt x="859897" y="985612"/>
                </a:lnTo>
                <a:lnTo>
                  <a:pt x="857913" y="990379"/>
                </a:lnTo>
                <a:lnTo>
                  <a:pt x="855929" y="995543"/>
                </a:lnTo>
                <a:lnTo>
                  <a:pt x="854342" y="1000707"/>
                </a:lnTo>
                <a:lnTo>
                  <a:pt x="853152" y="1005871"/>
                </a:lnTo>
                <a:lnTo>
                  <a:pt x="852358" y="1011433"/>
                </a:lnTo>
                <a:lnTo>
                  <a:pt x="851961" y="1016597"/>
                </a:lnTo>
                <a:lnTo>
                  <a:pt x="851167" y="1028514"/>
                </a:lnTo>
                <a:lnTo>
                  <a:pt x="850374" y="1039637"/>
                </a:lnTo>
                <a:lnTo>
                  <a:pt x="849580" y="1051158"/>
                </a:lnTo>
                <a:lnTo>
                  <a:pt x="849183" y="1056719"/>
                </a:lnTo>
                <a:lnTo>
                  <a:pt x="848390" y="1061883"/>
                </a:lnTo>
                <a:lnTo>
                  <a:pt x="847199" y="1067445"/>
                </a:lnTo>
                <a:lnTo>
                  <a:pt x="845612" y="1072212"/>
                </a:lnTo>
                <a:lnTo>
                  <a:pt x="843231" y="1078170"/>
                </a:lnTo>
                <a:lnTo>
                  <a:pt x="841247" y="1082937"/>
                </a:lnTo>
                <a:lnTo>
                  <a:pt x="838469" y="1087307"/>
                </a:lnTo>
                <a:lnTo>
                  <a:pt x="836089" y="1091280"/>
                </a:lnTo>
                <a:lnTo>
                  <a:pt x="830136" y="1098430"/>
                </a:lnTo>
                <a:lnTo>
                  <a:pt x="824581" y="1105183"/>
                </a:lnTo>
                <a:lnTo>
                  <a:pt x="821803" y="1109156"/>
                </a:lnTo>
                <a:lnTo>
                  <a:pt x="819026" y="1112731"/>
                </a:lnTo>
                <a:lnTo>
                  <a:pt x="816248" y="1116703"/>
                </a:lnTo>
                <a:lnTo>
                  <a:pt x="814264" y="1121470"/>
                </a:lnTo>
                <a:lnTo>
                  <a:pt x="812280" y="1126237"/>
                </a:lnTo>
                <a:lnTo>
                  <a:pt x="810692" y="1131799"/>
                </a:lnTo>
                <a:lnTo>
                  <a:pt x="809899" y="1138155"/>
                </a:lnTo>
                <a:lnTo>
                  <a:pt x="809105" y="1145305"/>
                </a:lnTo>
                <a:lnTo>
                  <a:pt x="845612" y="1150470"/>
                </a:lnTo>
                <a:lnTo>
                  <a:pt x="853152" y="1166757"/>
                </a:lnTo>
                <a:lnTo>
                  <a:pt x="811089" y="1183838"/>
                </a:lnTo>
                <a:lnTo>
                  <a:pt x="768233" y="1202112"/>
                </a:lnTo>
                <a:lnTo>
                  <a:pt x="682521" y="1239056"/>
                </a:lnTo>
                <a:lnTo>
                  <a:pt x="624586" y="1263685"/>
                </a:lnTo>
                <a:lnTo>
                  <a:pt x="568635" y="1287917"/>
                </a:lnTo>
                <a:lnTo>
                  <a:pt x="555541" y="1293082"/>
                </a:lnTo>
                <a:lnTo>
                  <a:pt x="542446" y="1297849"/>
                </a:lnTo>
                <a:lnTo>
                  <a:pt x="514669" y="1307780"/>
                </a:lnTo>
                <a:lnTo>
                  <a:pt x="485304" y="1318108"/>
                </a:lnTo>
                <a:lnTo>
                  <a:pt x="470225" y="1323670"/>
                </a:lnTo>
                <a:lnTo>
                  <a:pt x="455146" y="1330026"/>
                </a:lnTo>
                <a:lnTo>
                  <a:pt x="440464" y="1336382"/>
                </a:lnTo>
                <a:lnTo>
                  <a:pt x="425385" y="1343532"/>
                </a:lnTo>
                <a:lnTo>
                  <a:pt x="410703" y="1351080"/>
                </a:lnTo>
                <a:lnTo>
                  <a:pt x="403561" y="1355450"/>
                </a:lnTo>
                <a:lnTo>
                  <a:pt x="396418" y="1360217"/>
                </a:lnTo>
                <a:lnTo>
                  <a:pt x="389275" y="1364983"/>
                </a:lnTo>
                <a:lnTo>
                  <a:pt x="382529" y="1369750"/>
                </a:lnTo>
                <a:lnTo>
                  <a:pt x="376180" y="1374915"/>
                </a:lnTo>
                <a:lnTo>
                  <a:pt x="369038" y="1380079"/>
                </a:lnTo>
                <a:lnTo>
                  <a:pt x="363085" y="1386435"/>
                </a:lnTo>
                <a:lnTo>
                  <a:pt x="356736" y="1391996"/>
                </a:lnTo>
                <a:lnTo>
                  <a:pt x="350784" y="1398352"/>
                </a:lnTo>
                <a:lnTo>
                  <a:pt x="345229" y="1405106"/>
                </a:lnTo>
                <a:lnTo>
                  <a:pt x="339277" y="1411859"/>
                </a:lnTo>
                <a:lnTo>
                  <a:pt x="334118" y="1419406"/>
                </a:lnTo>
                <a:lnTo>
                  <a:pt x="329356" y="1426954"/>
                </a:lnTo>
                <a:lnTo>
                  <a:pt x="324594" y="1434899"/>
                </a:lnTo>
                <a:lnTo>
                  <a:pt x="320229" y="1443241"/>
                </a:lnTo>
                <a:lnTo>
                  <a:pt x="315865" y="1451981"/>
                </a:lnTo>
                <a:lnTo>
                  <a:pt x="311896" y="1461117"/>
                </a:lnTo>
                <a:lnTo>
                  <a:pt x="308325" y="1470651"/>
                </a:lnTo>
                <a:lnTo>
                  <a:pt x="304357" y="1482172"/>
                </a:lnTo>
                <a:lnTo>
                  <a:pt x="304357" y="1494486"/>
                </a:lnTo>
                <a:lnTo>
                  <a:pt x="303960" y="1538581"/>
                </a:lnTo>
                <a:lnTo>
                  <a:pt x="302770" y="1594196"/>
                </a:lnTo>
                <a:lnTo>
                  <a:pt x="301182" y="1649413"/>
                </a:lnTo>
                <a:lnTo>
                  <a:pt x="0" y="1649413"/>
                </a:lnTo>
                <a:lnTo>
                  <a:pt x="0" y="1625975"/>
                </a:lnTo>
                <a:lnTo>
                  <a:pt x="0" y="1599757"/>
                </a:lnTo>
                <a:lnTo>
                  <a:pt x="1190" y="1542951"/>
                </a:lnTo>
                <a:lnTo>
                  <a:pt x="2381" y="1488528"/>
                </a:lnTo>
                <a:lnTo>
                  <a:pt x="2778" y="1465487"/>
                </a:lnTo>
                <a:lnTo>
                  <a:pt x="2778" y="1446817"/>
                </a:lnTo>
                <a:lnTo>
                  <a:pt x="5159" y="1440858"/>
                </a:lnTo>
                <a:lnTo>
                  <a:pt x="7539" y="1435296"/>
                </a:lnTo>
                <a:lnTo>
                  <a:pt x="10317" y="1430132"/>
                </a:lnTo>
                <a:lnTo>
                  <a:pt x="13889" y="1425365"/>
                </a:lnTo>
                <a:lnTo>
                  <a:pt x="17063" y="1420598"/>
                </a:lnTo>
                <a:lnTo>
                  <a:pt x="20634" y="1416228"/>
                </a:lnTo>
                <a:lnTo>
                  <a:pt x="24206" y="1411859"/>
                </a:lnTo>
                <a:lnTo>
                  <a:pt x="28174" y="1407886"/>
                </a:lnTo>
                <a:lnTo>
                  <a:pt x="32142" y="1404311"/>
                </a:lnTo>
                <a:lnTo>
                  <a:pt x="36507" y="1400736"/>
                </a:lnTo>
                <a:lnTo>
                  <a:pt x="41269" y="1397558"/>
                </a:lnTo>
                <a:lnTo>
                  <a:pt x="46031" y="1394380"/>
                </a:lnTo>
                <a:lnTo>
                  <a:pt x="55951" y="1388421"/>
                </a:lnTo>
                <a:lnTo>
                  <a:pt x="66665" y="1382860"/>
                </a:lnTo>
                <a:lnTo>
                  <a:pt x="77379" y="1378093"/>
                </a:lnTo>
                <a:lnTo>
                  <a:pt x="88490" y="1373723"/>
                </a:lnTo>
                <a:lnTo>
                  <a:pt x="111902" y="1365381"/>
                </a:lnTo>
                <a:lnTo>
                  <a:pt x="135711" y="1356641"/>
                </a:lnTo>
                <a:lnTo>
                  <a:pt x="147218" y="1352669"/>
                </a:lnTo>
                <a:lnTo>
                  <a:pt x="158726" y="1347902"/>
                </a:lnTo>
                <a:lnTo>
                  <a:pt x="210312" y="1326053"/>
                </a:lnTo>
                <a:lnTo>
                  <a:pt x="263088" y="1303807"/>
                </a:lnTo>
                <a:lnTo>
                  <a:pt x="315071" y="1281164"/>
                </a:lnTo>
                <a:lnTo>
                  <a:pt x="366260" y="1259713"/>
                </a:lnTo>
                <a:lnTo>
                  <a:pt x="423401" y="1243823"/>
                </a:lnTo>
                <a:lnTo>
                  <a:pt x="428163" y="1240645"/>
                </a:lnTo>
                <a:lnTo>
                  <a:pt x="432131" y="1236672"/>
                </a:lnTo>
                <a:lnTo>
                  <a:pt x="436496" y="1231905"/>
                </a:lnTo>
                <a:lnTo>
                  <a:pt x="440464" y="1226741"/>
                </a:lnTo>
                <a:lnTo>
                  <a:pt x="444432" y="1220782"/>
                </a:lnTo>
                <a:lnTo>
                  <a:pt x="448401" y="1214426"/>
                </a:lnTo>
                <a:lnTo>
                  <a:pt x="456337" y="1201317"/>
                </a:lnTo>
                <a:lnTo>
                  <a:pt x="463480" y="1187016"/>
                </a:lnTo>
                <a:lnTo>
                  <a:pt x="469829" y="1173907"/>
                </a:lnTo>
                <a:lnTo>
                  <a:pt x="480543" y="1150470"/>
                </a:lnTo>
                <a:lnTo>
                  <a:pt x="507526" y="1143716"/>
                </a:lnTo>
                <a:lnTo>
                  <a:pt x="506336" y="1138155"/>
                </a:lnTo>
                <a:lnTo>
                  <a:pt x="504748" y="1132196"/>
                </a:lnTo>
                <a:lnTo>
                  <a:pt x="502764" y="1127429"/>
                </a:lnTo>
                <a:lnTo>
                  <a:pt x="500780" y="1123457"/>
                </a:lnTo>
                <a:lnTo>
                  <a:pt x="498399" y="1119484"/>
                </a:lnTo>
                <a:lnTo>
                  <a:pt x="496018" y="1115909"/>
                </a:lnTo>
                <a:lnTo>
                  <a:pt x="490860" y="1109950"/>
                </a:lnTo>
                <a:lnTo>
                  <a:pt x="485701" y="1103594"/>
                </a:lnTo>
                <a:lnTo>
                  <a:pt x="480146" y="1097636"/>
                </a:lnTo>
                <a:lnTo>
                  <a:pt x="477765" y="1094458"/>
                </a:lnTo>
                <a:lnTo>
                  <a:pt x="475384" y="1091280"/>
                </a:lnTo>
                <a:lnTo>
                  <a:pt x="473400" y="1087307"/>
                </a:lnTo>
                <a:lnTo>
                  <a:pt x="471813" y="1082937"/>
                </a:lnTo>
                <a:lnTo>
                  <a:pt x="461495" y="973694"/>
                </a:lnTo>
                <a:lnTo>
                  <a:pt x="461099" y="974091"/>
                </a:lnTo>
                <a:lnTo>
                  <a:pt x="460305" y="974091"/>
                </a:lnTo>
                <a:lnTo>
                  <a:pt x="457527" y="973694"/>
                </a:lnTo>
                <a:lnTo>
                  <a:pt x="448401" y="972105"/>
                </a:lnTo>
                <a:lnTo>
                  <a:pt x="438877" y="969324"/>
                </a:lnTo>
                <a:lnTo>
                  <a:pt x="435306" y="968133"/>
                </a:lnTo>
                <a:lnTo>
                  <a:pt x="433322" y="967338"/>
                </a:lnTo>
                <a:lnTo>
                  <a:pt x="430147" y="964557"/>
                </a:lnTo>
                <a:lnTo>
                  <a:pt x="426973" y="962174"/>
                </a:lnTo>
                <a:lnTo>
                  <a:pt x="424195" y="958996"/>
                </a:lnTo>
                <a:lnTo>
                  <a:pt x="421417" y="955818"/>
                </a:lnTo>
                <a:lnTo>
                  <a:pt x="419036" y="952243"/>
                </a:lnTo>
                <a:lnTo>
                  <a:pt x="416655" y="948270"/>
                </a:lnTo>
                <a:lnTo>
                  <a:pt x="414671" y="944298"/>
                </a:lnTo>
                <a:lnTo>
                  <a:pt x="412687" y="939928"/>
                </a:lnTo>
                <a:lnTo>
                  <a:pt x="409116" y="929997"/>
                </a:lnTo>
                <a:lnTo>
                  <a:pt x="406338" y="920066"/>
                </a:lnTo>
                <a:lnTo>
                  <a:pt x="403957" y="908943"/>
                </a:lnTo>
                <a:lnTo>
                  <a:pt x="401576" y="898217"/>
                </a:lnTo>
                <a:lnTo>
                  <a:pt x="399989" y="887094"/>
                </a:lnTo>
                <a:lnTo>
                  <a:pt x="398402" y="875574"/>
                </a:lnTo>
                <a:lnTo>
                  <a:pt x="396418" y="854122"/>
                </a:lnTo>
                <a:lnTo>
                  <a:pt x="394831" y="834260"/>
                </a:lnTo>
                <a:lnTo>
                  <a:pt x="393640" y="817576"/>
                </a:lnTo>
                <a:lnTo>
                  <a:pt x="393640" y="814795"/>
                </a:lnTo>
                <a:lnTo>
                  <a:pt x="394037" y="811617"/>
                </a:lnTo>
                <a:lnTo>
                  <a:pt x="395227" y="808439"/>
                </a:lnTo>
                <a:lnTo>
                  <a:pt x="396418" y="805261"/>
                </a:lnTo>
                <a:lnTo>
                  <a:pt x="399989" y="798905"/>
                </a:lnTo>
                <a:lnTo>
                  <a:pt x="403561" y="791755"/>
                </a:lnTo>
                <a:lnTo>
                  <a:pt x="407132" y="784604"/>
                </a:lnTo>
                <a:lnTo>
                  <a:pt x="408322" y="780234"/>
                </a:lnTo>
                <a:lnTo>
                  <a:pt x="409513" y="776262"/>
                </a:lnTo>
                <a:lnTo>
                  <a:pt x="410306" y="771495"/>
                </a:lnTo>
                <a:lnTo>
                  <a:pt x="410703" y="766331"/>
                </a:lnTo>
                <a:lnTo>
                  <a:pt x="410306" y="761166"/>
                </a:lnTo>
                <a:lnTo>
                  <a:pt x="409513" y="755605"/>
                </a:lnTo>
                <a:lnTo>
                  <a:pt x="406338" y="738126"/>
                </a:lnTo>
                <a:lnTo>
                  <a:pt x="403561" y="721839"/>
                </a:lnTo>
                <a:lnTo>
                  <a:pt x="401180" y="705552"/>
                </a:lnTo>
                <a:lnTo>
                  <a:pt x="399196" y="689662"/>
                </a:lnTo>
                <a:lnTo>
                  <a:pt x="397608" y="673772"/>
                </a:lnTo>
                <a:lnTo>
                  <a:pt x="397211" y="659074"/>
                </a:lnTo>
                <a:lnTo>
                  <a:pt x="396815" y="643978"/>
                </a:lnTo>
                <a:lnTo>
                  <a:pt x="396815" y="629677"/>
                </a:lnTo>
                <a:lnTo>
                  <a:pt x="397608" y="615774"/>
                </a:lnTo>
                <a:lnTo>
                  <a:pt x="398799" y="602267"/>
                </a:lnTo>
                <a:lnTo>
                  <a:pt x="400386" y="588761"/>
                </a:lnTo>
                <a:lnTo>
                  <a:pt x="402370" y="576446"/>
                </a:lnTo>
                <a:lnTo>
                  <a:pt x="404751" y="563734"/>
                </a:lnTo>
                <a:lnTo>
                  <a:pt x="407529" y="552214"/>
                </a:lnTo>
                <a:lnTo>
                  <a:pt x="410703" y="540297"/>
                </a:lnTo>
                <a:lnTo>
                  <a:pt x="414275" y="529571"/>
                </a:lnTo>
                <a:lnTo>
                  <a:pt x="418243" y="519242"/>
                </a:lnTo>
                <a:lnTo>
                  <a:pt x="422211" y="508914"/>
                </a:lnTo>
                <a:lnTo>
                  <a:pt x="426973" y="499380"/>
                </a:lnTo>
                <a:lnTo>
                  <a:pt x="432131" y="490243"/>
                </a:lnTo>
                <a:lnTo>
                  <a:pt x="437290" y="481504"/>
                </a:lnTo>
                <a:lnTo>
                  <a:pt x="442845" y="473162"/>
                </a:lnTo>
                <a:lnTo>
                  <a:pt x="448797" y="465614"/>
                </a:lnTo>
                <a:lnTo>
                  <a:pt x="454750" y="458066"/>
                </a:lnTo>
                <a:lnTo>
                  <a:pt x="461495" y="451710"/>
                </a:lnTo>
                <a:lnTo>
                  <a:pt x="468241" y="445752"/>
                </a:lnTo>
                <a:lnTo>
                  <a:pt x="474987" y="440190"/>
                </a:lnTo>
                <a:lnTo>
                  <a:pt x="482130" y="435026"/>
                </a:lnTo>
                <a:lnTo>
                  <a:pt x="490066" y="429862"/>
                </a:lnTo>
                <a:lnTo>
                  <a:pt x="497606" y="425889"/>
                </a:lnTo>
                <a:lnTo>
                  <a:pt x="505542" y="422711"/>
                </a:lnTo>
                <a:lnTo>
                  <a:pt x="513875" y="419533"/>
                </a:lnTo>
                <a:lnTo>
                  <a:pt x="538478" y="409999"/>
                </a:lnTo>
                <a:lnTo>
                  <a:pt x="553160" y="404438"/>
                </a:lnTo>
                <a:lnTo>
                  <a:pt x="568239" y="399273"/>
                </a:lnTo>
                <a:lnTo>
                  <a:pt x="584111" y="394506"/>
                </a:lnTo>
                <a:lnTo>
                  <a:pt x="601174" y="390137"/>
                </a:lnTo>
                <a:lnTo>
                  <a:pt x="618634" y="386562"/>
                </a:lnTo>
                <a:lnTo>
                  <a:pt x="627761" y="384973"/>
                </a:lnTo>
                <a:lnTo>
                  <a:pt x="636888" y="383384"/>
                </a:lnTo>
                <a:lnTo>
                  <a:pt x="646014" y="382589"/>
                </a:lnTo>
                <a:lnTo>
                  <a:pt x="655538" y="381795"/>
                </a:lnTo>
                <a:lnTo>
                  <a:pt x="665061" y="381397"/>
                </a:lnTo>
                <a:lnTo>
                  <a:pt x="674585" y="381000"/>
                </a:lnTo>
                <a:close/>
                <a:moveTo>
                  <a:pt x="1307704" y="0"/>
                </a:moveTo>
                <a:lnTo>
                  <a:pt x="1321601" y="0"/>
                </a:lnTo>
                <a:lnTo>
                  <a:pt x="1335100" y="0"/>
                </a:lnTo>
                <a:lnTo>
                  <a:pt x="1348997" y="1191"/>
                </a:lnTo>
                <a:lnTo>
                  <a:pt x="1362496" y="2381"/>
                </a:lnTo>
                <a:lnTo>
                  <a:pt x="1376790" y="4366"/>
                </a:lnTo>
                <a:lnTo>
                  <a:pt x="1390289" y="7144"/>
                </a:lnTo>
                <a:lnTo>
                  <a:pt x="1404583" y="10319"/>
                </a:lnTo>
                <a:lnTo>
                  <a:pt x="1418480" y="14684"/>
                </a:lnTo>
                <a:lnTo>
                  <a:pt x="1432773" y="19447"/>
                </a:lnTo>
                <a:lnTo>
                  <a:pt x="1446670" y="25003"/>
                </a:lnTo>
                <a:lnTo>
                  <a:pt x="1460566" y="31353"/>
                </a:lnTo>
                <a:lnTo>
                  <a:pt x="1474463" y="38497"/>
                </a:lnTo>
                <a:lnTo>
                  <a:pt x="1488757" y="46831"/>
                </a:lnTo>
                <a:lnTo>
                  <a:pt x="1525285" y="80963"/>
                </a:lnTo>
                <a:lnTo>
                  <a:pt x="1584841" y="90884"/>
                </a:lnTo>
                <a:lnTo>
                  <a:pt x="1590400" y="94853"/>
                </a:lnTo>
                <a:lnTo>
                  <a:pt x="1595958" y="99616"/>
                </a:lnTo>
                <a:lnTo>
                  <a:pt x="1600723" y="104775"/>
                </a:lnTo>
                <a:lnTo>
                  <a:pt x="1605487" y="110331"/>
                </a:lnTo>
                <a:lnTo>
                  <a:pt x="1609855" y="115888"/>
                </a:lnTo>
                <a:lnTo>
                  <a:pt x="1613825" y="122238"/>
                </a:lnTo>
                <a:lnTo>
                  <a:pt x="1617399" y="128984"/>
                </a:lnTo>
                <a:lnTo>
                  <a:pt x="1620575" y="134938"/>
                </a:lnTo>
                <a:lnTo>
                  <a:pt x="1626531" y="146447"/>
                </a:lnTo>
                <a:lnTo>
                  <a:pt x="1630898" y="156766"/>
                </a:lnTo>
                <a:lnTo>
                  <a:pt x="1634075" y="165894"/>
                </a:lnTo>
                <a:lnTo>
                  <a:pt x="1636854" y="177403"/>
                </a:lnTo>
                <a:lnTo>
                  <a:pt x="1639236" y="189309"/>
                </a:lnTo>
                <a:lnTo>
                  <a:pt x="1641619" y="200819"/>
                </a:lnTo>
                <a:lnTo>
                  <a:pt x="1643207" y="212725"/>
                </a:lnTo>
                <a:lnTo>
                  <a:pt x="1644795" y="223838"/>
                </a:lnTo>
                <a:lnTo>
                  <a:pt x="1646383" y="235347"/>
                </a:lnTo>
                <a:lnTo>
                  <a:pt x="1648368" y="258366"/>
                </a:lnTo>
                <a:lnTo>
                  <a:pt x="1649559" y="281781"/>
                </a:lnTo>
                <a:lnTo>
                  <a:pt x="1649957" y="304800"/>
                </a:lnTo>
                <a:lnTo>
                  <a:pt x="1649957" y="328613"/>
                </a:lnTo>
                <a:lnTo>
                  <a:pt x="1649559" y="352822"/>
                </a:lnTo>
                <a:lnTo>
                  <a:pt x="1648765" y="365919"/>
                </a:lnTo>
                <a:lnTo>
                  <a:pt x="1647177" y="385763"/>
                </a:lnTo>
                <a:lnTo>
                  <a:pt x="1642413" y="436959"/>
                </a:lnTo>
                <a:lnTo>
                  <a:pt x="1640427" y="464344"/>
                </a:lnTo>
                <a:lnTo>
                  <a:pt x="1638839" y="490141"/>
                </a:lnTo>
                <a:lnTo>
                  <a:pt x="1638442" y="501650"/>
                </a:lnTo>
                <a:lnTo>
                  <a:pt x="1638045" y="511969"/>
                </a:lnTo>
                <a:lnTo>
                  <a:pt x="1638442" y="521494"/>
                </a:lnTo>
                <a:lnTo>
                  <a:pt x="1638839" y="529034"/>
                </a:lnTo>
                <a:lnTo>
                  <a:pt x="1640030" y="538559"/>
                </a:lnTo>
                <a:lnTo>
                  <a:pt x="1642016" y="546497"/>
                </a:lnTo>
                <a:lnTo>
                  <a:pt x="1644001" y="553244"/>
                </a:lnTo>
                <a:lnTo>
                  <a:pt x="1646780" y="558800"/>
                </a:lnTo>
                <a:lnTo>
                  <a:pt x="1649559" y="563959"/>
                </a:lnTo>
                <a:lnTo>
                  <a:pt x="1653133" y="569516"/>
                </a:lnTo>
                <a:lnTo>
                  <a:pt x="1656706" y="576659"/>
                </a:lnTo>
                <a:lnTo>
                  <a:pt x="1661074" y="584597"/>
                </a:lnTo>
                <a:lnTo>
                  <a:pt x="1664250" y="592534"/>
                </a:lnTo>
                <a:lnTo>
                  <a:pt x="1667029" y="600869"/>
                </a:lnTo>
                <a:lnTo>
                  <a:pt x="1669412" y="609600"/>
                </a:lnTo>
                <a:lnTo>
                  <a:pt x="1671397" y="618331"/>
                </a:lnTo>
                <a:lnTo>
                  <a:pt x="1672588" y="627459"/>
                </a:lnTo>
                <a:lnTo>
                  <a:pt x="1673382" y="636984"/>
                </a:lnTo>
                <a:lnTo>
                  <a:pt x="1673779" y="646113"/>
                </a:lnTo>
                <a:lnTo>
                  <a:pt x="1674176" y="655241"/>
                </a:lnTo>
                <a:lnTo>
                  <a:pt x="1673779" y="665163"/>
                </a:lnTo>
                <a:lnTo>
                  <a:pt x="1673382" y="674291"/>
                </a:lnTo>
                <a:lnTo>
                  <a:pt x="1671794" y="692547"/>
                </a:lnTo>
                <a:lnTo>
                  <a:pt x="1669412" y="710009"/>
                </a:lnTo>
                <a:lnTo>
                  <a:pt x="1666632" y="726678"/>
                </a:lnTo>
                <a:lnTo>
                  <a:pt x="1664647" y="735806"/>
                </a:lnTo>
                <a:lnTo>
                  <a:pt x="1662662" y="745728"/>
                </a:lnTo>
                <a:lnTo>
                  <a:pt x="1659883" y="755650"/>
                </a:lnTo>
                <a:lnTo>
                  <a:pt x="1656706" y="765572"/>
                </a:lnTo>
                <a:lnTo>
                  <a:pt x="1653133" y="775891"/>
                </a:lnTo>
                <a:lnTo>
                  <a:pt x="1649162" y="785416"/>
                </a:lnTo>
                <a:lnTo>
                  <a:pt x="1644795" y="793750"/>
                </a:lnTo>
                <a:lnTo>
                  <a:pt x="1642413" y="798116"/>
                </a:lnTo>
                <a:lnTo>
                  <a:pt x="1639633" y="802084"/>
                </a:lnTo>
                <a:lnTo>
                  <a:pt x="1636854" y="805656"/>
                </a:lnTo>
                <a:lnTo>
                  <a:pt x="1633678" y="808831"/>
                </a:lnTo>
                <a:lnTo>
                  <a:pt x="1630104" y="811609"/>
                </a:lnTo>
                <a:lnTo>
                  <a:pt x="1626531" y="814388"/>
                </a:lnTo>
                <a:lnTo>
                  <a:pt x="1618193" y="818753"/>
                </a:lnTo>
                <a:lnTo>
                  <a:pt x="1610252" y="823119"/>
                </a:lnTo>
                <a:lnTo>
                  <a:pt x="1602311" y="827881"/>
                </a:lnTo>
                <a:lnTo>
                  <a:pt x="1598341" y="830263"/>
                </a:lnTo>
                <a:lnTo>
                  <a:pt x="1593973" y="832644"/>
                </a:lnTo>
                <a:lnTo>
                  <a:pt x="1590797" y="835819"/>
                </a:lnTo>
                <a:lnTo>
                  <a:pt x="1587223" y="838994"/>
                </a:lnTo>
                <a:lnTo>
                  <a:pt x="1584444" y="842963"/>
                </a:lnTo>
                <a:lnTo>
                  <a:pt x="1581665" y="846931"/>
                </a:lnTo>
                <a:lnTo>
                  <a:pt x="1578489" y="854075"/>
                </a:lnTo>
                <a:lnTo>
                  <a:pt x="1576106" y="860822"/>
                </a:lnTo>
                <a:lnTo>
                  <a:pt x="1574121" y="867966"/>
                </a:lnTo>
                <a:lnTo>
                  <a:pt x="1572533" y="875506"/>
                </a:lnTo>
                <a:lnTo>
                  <a:pt x="1571342" y="883444"/>
                </a:lnTo>
                <a:lnTo>
                  <a:pt x="1570151" y="890984"/>
                </a:lnTo>
                <a:lnTo>
                  <a:pt x="1568959" y="906859"/>
                </a:lnTo>
                <a:lnTo>
                  <a:pt x="1568165" y="923131"/>
                </a:lnTo>
                <a:lnTo>
                  <a:pt x="1566974" y="939006"/>
                </a:lnTo>
                <a:lnTo>
                  <a:pt x="1565783" y="946944"/>
                </a:lnTo>
                <a:lnTo>
                  <a:pt x="1564989" y="954484"/>
                </a:lnTo>
                <a:lnTo>
                  <a:pt x="1563401" y="961628"/>
                </a:lnTo>
                <a:lnTo>
                  <a:pt x="1561415" y="969169"/>
                </a:lnTo>
                <a:lnTo>
                  <a:pt x="1558636" y="976709"/>
                </a:lnTo>
                <a:lnTo>
                  <a:pt x="1555460" y="983456"/>
                </a:lnTo>
                <a:lnTo>
                  <a:pt x="1551887" y="989409"/>
                </a:lnTo>
                <a:lnTo>
                  <a:pt x="1548313" y="995363"/>
                </a:lnTo>
                <a:lnTo>
                  <a:pt x="1544343" y="1000522"/>
                </a:lnTo>
                <a:lnTo>
                  <a:pt x="1539578" y="1005284"/>
                </a:lnTo>
                <a:lnTo>
                  <a:pt x="1531637" y="1014809"/>
                </a:lnTo>
                <a:lnTo>
                  <a:pt x="1527667" y="1019969"/>
                </a:lnTo>
                <a:lnTo>
                  <a:pt x="1524093" y="1025525"/>
                </a:lnTo>
                <a:lnTo>
                  <a:pt x="1520520" y="1031081"/>
                </a:lnTo>
                <a:lnTo>
                  <a:pt x="1517741" y="1037431"/>
                </a:lnTo>
                <a:lnTo>
                  <a:pt x="1514961" y="1044178"/>
                </a:lnTo>
                <a:lnTo>
                  <a:pt x="1512976" y="1052513"/>
                </a:lnTo>
                <a:lnTo>
                  <a:pt x="1510991" y="1061244"/>
                </a:lnTo>
                <a:lnTo>
                  <a:pt x="1510197" y="1070769"/>
                </a:lnTo>
                <a:lnTo>
                  <a:pt x="1561415" y="1078309"/>
                </a:lnTo>
                <a:lnTo>
                  <a:pt x="1576900" y="1111250"/>
                </a:lnTo>
                <a:lnTo>
                  <a:pt x="1585635" y="1129903"/>
                </a:lnTo>
                <a:lnTo>
                  <a:pt x="1596355" y="1149350"/>
                </a:lnTo>
                <a:lnTo>
                  <a:pt x="1601517" y="1158478"/>
                </a:lnTo>
                <a:lnTo>
                  <a:pt x="1606679" y="1168003"/>
                </a:lnTo>
                <a:lnTo>
                  <a:pt x="1612237" y="1176734"/>
                </a:lnTo>
                <a:lnTo>
                  <a:pt x="1617796" y="1184672"/>
                </a:lnTo>
                <a:lnTo>
                  <a:pt x="1624149" y="1192609"/>
                </a:lnTo>
                <a:lnTo>
                  <a:pt x="1629707" y="1198959"/>
                </a:lnTo>
                <a:lnTo>
                  <a:pt x="1635663" y="1204516"/>
                </a:lnTo>
                <a:lnTo>
                  <a:pt x="1641619" y="1209278"/>
                </a:lnTo>
                <a:lnTo>
                  <a:pt x="1721821" y="1231106"/>
                </a:lnTo>
                <a:lnTo>
                  <a:pt x="1793687" y="1261269"/>
                </a:lnTo>
                <a:lnTo>
                  <a:pt x="1867537" y="1292622"/>
                </a:lnTo>
                <a:lnTo>
                  <a:pt x="1941387" y="1324372"/>
                </a:lnTo>
                <a:lnTo>
                  <a:pt x="2013649" y="1354931"/>
                </a:lnTo>
                <a:lnTo>
                  <a:pt x="2029531" y="1361678"/>
                </a:lnTo>
                <a:lnTo>
                  <a:pt x="2046207" y="1367631"/>
                </a:lnTo>
                <a:lnTo>
                  <a:pt x="2079161" y="1379141"/>
                </a:lnTo>
                <a:lnTo>
                  <a:pt x="2095440" y="1385094"/>
                </a:lnTo>
                <a:lnTo>
                  <a:pt x="2112116" y="1391444"/>
                </a:lnTo>
                <a:lnTo>
                  <a:pt x="2127998" y="1397397"/>
                </a:lnTo>
                <a:lnTo>
                  <a:pt x="2143085" y="1404144"/>
                </a:lnTo>
                <a:lnTo>
                  <a:pt x="2150232" y="1407716"/>
                </a:lnTo>
                <a:lnTo>
                  <a:pt x="2157776" y="1411684"/>
                </a:lnTo>
                <a:lnTo>
                  <a:pt x="2164923" y="1416050"/>
                </a:lnTo>
                <a:lnTo>
                  <a:pt x="2171673" y="1420019"/>
                </a:lnTo>
                <a:lnTo>
                  <a:pt x="2178423" y="1424384"/>
                </a:lnTo>
                <a:lnTo>
                  <a:pt x="2184775" y="1429147"/>
                </a:lnTo>
                <a:lnTo>
                  <a:pt x="2191128" y="1433909"/>
                </a:lnTo>
                <a:lnTo>
                  <a:pt x="2196687" y="1439069"/>
                </a:lnTo>
                <a:lnTo>
                  <a:pt x="2202245" y="1445022"/>
                </a:lnTo>
                <a:lnTo>
                  <a:pt x="2207804" y="1450578"/>
                </a:lnTo>
                <a:lnTo>
                  <a:pt x="2212965" y="1456928"/>
                </a:lnTo>
                <a:lnTo>
                  <a:pt x="2217333" y="1463278"/>
                </a:lnTo>
                <a:lnTo>
                  <a:pt x="2221700" y="1470422"/>
                </a:lnTo>
                <a:lnTo>
                  <a:pt x="2225274" y="1477566"/>
                </a:lnTo>
                <a:lnTo>
                  <a:pt x="2228847" y="1485503"/>
                </a:lnTo>
                <a:lnTo>
                  <a:pt x="2232023" y="1493441"/>
                </a:lnTo>
                <a:lnTo>
                  <a:pt x="2232023" y="1519634"/>
                </a:lnTo>
                <a:lnTo>
                  <a:pt x="2232817" y="1552178"/>
                </a:lnTo>
                <a:lnTo>
                  <a:pt x="2234406" y="1628378"/>
                </a:lnTo>
                <a:lnTo>
                  <a:pt x="2235597" y="1668859"/>
                </a:lnTo>
                <a:lnTo>
                  <a:pt x="2236391" y="1708150"/>
                </a:lnTo>
                <a:lnTo>
                  <a:pt x="2236788" y="1745059"/>
                </a:lnTo>
                <a:lnTo>
                  <a:pt x="2236391" y="1778000"/>
                </a:lnTo>
                <a:lnTo>
                  <a:pt x="374650" y="1778000"/>
                </a:lnTo>
                <a:lnTo>
                  <a:pt x="374650" y="1745059"/>
                </a:lnTo>
                <a:lnTo>
                  <a:pt x="374650" y="1708150"/>
                </a:lnTo>
                <a:lnTo>
                  <a:pt x="375444" y="1668859"/>
                </a:lnTo>
                <a:lnTo>
                  <a:pt x="376238" y="1628378"/>
                </a:lnTo>
                <a:lnTo>
                  <a:pt x="377826" y="1552178"/>
                </a:lnTo>
                <a:lnTo>
                  <a:pt x="378620" y="1519634"/>
                </a:lnTo>
                <a:lnTo>
                  <a:pt x="379017" y="1493441"/>
                </a:lnTo>
                <a:lnTo>
                  <a:pt x="381797" y="1485503"/>
                </a:lnTo>
                <a:lnTo>
                  <a:pt x="385370" y="1477566"/>
                </a:lnTo>
                <a:lnTo>
                  <a:pt x="389341" y="1470422"/>
                </a:lnTo>
                <a:lnTo>
                  <a:pt x="393311" y="1463278"/>
                </a:lnTo>
                <a:lnTo>
                  <a:pt x="398076" y="1456928"/>
                </a:lnTo>
                <a:lnTo>
                  <a:pt x="403237" y="1450578"/>
                </a:lnTo>
                <a:lnTo>
                  <a:pt x="408399" y="1445022"/>
                </a:lnTo>
                <a:lnTo>
                  <a:pt x="413957" y="1439069"/>
                </a:lnTo>
                <a:lnTo>
                  <a:pt x="419516" y="1433909"/>
                </a:lnTo>
                <a:lnTo>
                  <a:pt x="425869" y="1429147"/>
                </a:lnTo>
                <a:lnTo>
                  <a:pt x="432618" y="1424384"/>
                </a:lnTo>
                <a:lnTo>
                  <a:pt x="438971" y="1420019"/>
                </a:lnTo>
                <a:lnTo>
                  <a:pt x="445721" y="1416050"/>
                </a:lnTo>
                <a:lnTo>
                  <a:pt x="452868" y="1411684"/>
                </a:lnTo>
                <a:lnTo>
                  <a:pt x="460412" y="1407716"/>
                </a:lnTo>
                <a:lnTo>
                  <a:pt x="467558" y="1404144"/>
                </a:lnTo>
                <a:lnTo>
                  <a:pt x="482646" y="1397397"/>
                </a:lnTo>
                <a:lnTo>
                  <a:pt x="498925" y="1391444"/>
                </a:lnTo>
                <a:lnTo>
                  <a:pt x="515204" y="1385094"/>
                </a:lnTo>
                <a:lnTo>
                  <a:pt x="531483" y="1379141"/>
                </a:lnTo>
                <a:lnTo>
                  <a:pt x="564437" y="1367631"/>
                </a:lnTo>
                <a:lnTo>
                  <a:pt x="581113" y="1361678"/>
                </a:lnTo>
                <a:lnTo>
                  <a:pt x="597392" y="1354931"/>
                </a:lnTo>
                <a:lnTo>
                  <a:pt x="669257" y="1324372"/>
                </a:lnTo>
                <a:lnTo>
                  <a:pt x="743504" y="1292622"/>
                </a:lnTo>
                <a:lnTo>
                  <a:pt x="817354" y="1261269"/>
                </a:lnTo>
                <a:lnTo>
                  <a:pt x="888822" y="1231106"/>
                </a:lnTo>
                <a:lnTo>
                  <a:pt x="969025" y="1209278"/>
                </a:lnTo>
                <a:lnTo>
                  <a:pt x="974981" y="1204516"/>
                </a:lnTo>
                <a:lnTo>
                  <a:pt x="980937" y="1198959"/>
                </a:lnTo>
                <a:lnTo>
                  <a:pt x="986892" y="1192609"/>
                </a:lnTo>
                <a:lnTo>
                  <a:pt x="992848" y="1184672"/>
                </a:lnTo>
                <a:lnTo>
                  <a:pt x="998407" y="1176734"/>
                </a:lnTo>
                <a:lnTo>
                  <a:pt x="1003965" y="1168003"/>
                </a:lnTo>
                <a:lnTo>
                  <a:pt x="1009524" y="1158478"/>
                </a:lnTo>
                <a:lnTo>
                  <a:pt x="1015083" y="1149350"/>
                </a:lnTo>
                <a:lnTo>
                  <a:pt x="1025009" y="1129903"/>
                </a:lnTo>
                <a:lnTo>
                  <a:pt x="1034141" y="1111250"/>
                </a:lnTo>
                <a:lnTo>
                  <a:pt x="1049228" y="1078309"/>
                </a:lnTo>
                <a:lnTo>
                  <a:pt x="1087345" y="1068784"/>
                </a:lnTo>
                <a:lnTo>
                  <a:pt x="1085359" y="1060450"/>
                </a:lnTo>
                <a:lnTo>
                  <a:pt x="1082977" y="1053306"/>
                </a:lnTo>
                <a:lnTo>
                  <a:pt x="1080595" y="1046163"/>
                </a:lnTo>
                <a:lnTo>
                  <a:pt x="1077419" y="1040209"/>
                </a:lnTo>
                <a:lnTo>
                  <a:pt x="1074242" y="1034653"/>
                </a:lnTo>
                <a:lnTo>
                  <a:pt x="1071066" y="1029891"/>
                </a:lnTo>
                <a:lnTo>
                  <a:pt x="1067492" y="1025525"/>
                </a:lnTo>
                <a:lnTo>
                  <a:pt x="1063125" y="1020763"/>
                </a:lnTo>
                <a:lnTo>
                  <a:pt x="1055978" y="1012825"/>
                </a:lnTo>
                <a:lnTo>
                  <a:pt x="1048434" y="1004491"/>
                </a:lnTo>
                <a:lnTo>
                  <a:pt x="1045258" y="1000125"/>
                </a:lnTo>
                <a:lnTo>
                  <a:pt x="1042082" y="995363"/>
                </a:lnTo>
                <a:lnTo>
                  <a:pt x="1038905" y="989409"/>
                </a:lnTo>
                <a:lnTo>
                  <a:pt x="1036523" y="983456"/>
                </a:lnTo>
                <a:lnTo>
                  <a:pt x="1022229" y="830659"/>
                </a:lnTo>
                <a:lnTo>
                  <a:pt x="1021832" y="831056"/>
                </a:lnTo>
                <a:lnTo>
                  <a:pt x="1020641" y="831056"/>
                </a:lnTo>
                <a:lnTo>
                  <a:pt x="1016671" y="830659"/>
                </a:lnTo>
                <a:lnTo>
                  <a:pt x="1010715" y="829469"/>
                </a:lnTo>
                <a:lnTo>
                  <a:pt x="1003965" y="828278"/>
                </a:lnTo>
                <a:lnTo>
                  <a:pt x="990863" y="824309"/>
                </a:lnTo>
                <a:lnTo>
                  <a:pt x="985701" y="822325"/>
                </a:lnTo>
                <a:lnTo>
                  <a:pt x="982525" y="821134"/>
                </a:lnTo>
                <a:lnTo>
                  <a:pt x="978157" y="817959"/>
                </a:lnTo>
                <a:lnTo>
                  <a:pt x="973790" y="814388"/>
                </a:lnTo>
                <a:lnTo>
                  <a:pt x="969819" y="810419"/>
                </a:lnTo>
                <a:lnTo>
                  <a:pt x="966246" y="805656"/>
                </a:lnTo>
                <a:lnTo>
                  <a:pt x="962673" y="800497"/>
                </a:lnTo>
                <a:lnTo>
                  <a:pt x="959496" y="794941"/>
                </a:lnTo>
                <a:lnTo>
                  <a:pt x="956717" y="788988"/>
                </a:lnTo>
                <a:lnTo>
                  <a:pt x="953541" y="783034"/>
                </a:lnTo>
                <a:lnTo>
                  <a:pt x="951158" y="776684"/>
                </a:lnTo>
                <a:lnTo>
                  <a:pt x="948776" y="769541"/>
                </a:lnTo>
                <a:lnTo>
                  <a:pt x="944409" y="755253"/>
                </a:lnTo>
                <a:lnTo>
                  <a:pt x="941232" y="740172"/>
                </a:lnTo>
                <a:lnTo>
                  <a:pt x="938056" y="724694"/>
                </a:lnTo>
                <a:lnTo>
                  <a:pt x="935674" y="708819"/>
                </a:lnTo>
                <a:lnTo>
                  <a:pt x="934085" y="693341"/>
                </a:lnTo>
                <a:lnTo>
                  <a:pt x="932497" y="677466"/>
                </a:lnTo>
                <a:lnTo>
                  <a:pt x="931306" y="662781"/>
                </a:lnTo>
                <a:lnTo>
                  <a:pt x="929321" y="635000"/>
                </a:lnTo>
                <a:lnTo>
                  <a:pt x="926939" y="611981"/>
                </a:lnTo>
                <a:lnTo>
                  <a:pt x="926939" y="607616"/>
                </a:lnTo>
                <a:lnTo>
                  <a:pt x="927733" y="603250"/>
                </a:lnTo>
                <a:lnTo>
                  <a:pt x="929321" y="598884"/>
                </a:lnTo>
                <a:lnTo>
                  <a:pt x="931306" y="594519"/>
                </a:lnTo>
                <a:lnTo>
                  <a:pt x="935674" y="585391"/>
                </a:lnTo>
                <a:lnTo>
                  <a:pt x="940835" y="575866"/>
                </a:lnTo>
                <a:lnTo>
                  <a:pt x="943217" y="570706"/>
                </a:lnTo>
                <a:lnTo>
                  <a:pt x="945600" y="565150"/>
                </a:lnTo>
                <a:lnTo>
                  <a:pt x="947585" y="559594"/>
                </a:lnTo>
                <a:lnTo>
                  <a:pt x="949173" y="553641"/>
                </a:lnTo>
                <a:lnTo>
                  <a:pt x="950364" y="547291"/>
                </a:lnTo>
                <a:lnTo>
                  <a:pt x="950761" y="539750"/>
                </a:lnTo>
                <a:lnTo>
                  <a:pt x="950364" y="532606"/>
                </a:lnTo>
                <a:lnTo>
                  <a:pt x="949173" y="524669"/>
                </a:lnTo>
                <a:lnTo>
                  <a:pt x="944409" y="500856"/>
                </a:lnTo>
                <a:lnTo>
                  <a:pt x="940438" y="477441"/>
                </a:lnTo>
                <a:lnTo>
                  <a:pt x="937262" y="454422"/>
                </a:lnTo>
                <a:lnTo>
                  <a:pt x="934880" y="432197"/>
                </a:lnTo>
                <a:lnTo>
                  <a:pt x="933291" y="410766"/>
                </a:lnTo>
                <a:lnTo>
                  <a:pt x="932100" y="389334"/>
                </a:lnTo>
                <a:lnTo>
                  <a:pt x="931703" y="368300"/>
                </a:lnTo>
                <a:lnTo>
                  <a:pt x="932100" y="348059"/>
                </a:lnTo>
                <a:lnTo>
                  <a:pt x="932894" y="328613"/>
                </a:lnTo>
                <a:lnTo>
                  <a:pt x="934483" y="309563"/>
                </a:lnTo>
                <a:lnTo>
                  <a:pt x="936468" y="290909"/>
                </a:lnTo>
                <a:lnTo>
                  <a:pt x="939247" y="273447"/>
                </a:lnTo>
                <a:lnTo>
                  <a:pt x="942423" y="255984"/>
                </a:lnTo>
                <a:lnTo>
                  <a:pt x="946394" y="239713"/>
                </a:lnTo>
                <a:lnTo>
                  <a:pt x="950761" y="223441"/>
                </a:lnTo>
                <a:lnTo>
                  <a:pt x="956320" y="207566"/>
                </a:lnTo>
                <a:lnTo>
                  <a:pt x="961482" y="193278"/>
                </a:lnTo>
                <a:lnTo>
                  <a:pt x="967437" y="178991"/>
                </a:lnTo>
                <a:lnTo>
                  <a:pt x="973790" y="165497"/>
                </a:lnTo>
                <a:lnTo>
                  <a:pt x="980937" y="152400"/>
                </a:lnTo>
                <a:lnTo>
                  <a:pt x="988481" y="140494"/>
                </a:lnTo>
                <a:lnTo>
                  <a:pt x="996421" y="129381"/>
                </a:lnTo>
                <a:lnTo>
                  <a:pt x="1004362" y="118269"/>
                </a:lnTo>
                <a:lnTo>
                  <a:pt x="1013494" y="108347"/>
                </a:lnTo>
                <a:lnTo>
                  <a:pt x="1022229" y="99219"/>
                </a:lnTo>
                <a:lnTo>
                  <a:pt x="1031758" y="90091"/>
                </a:lnTo>
                <a:lnTo>
                  <a:pt x="1041685" y="82550"/>
                </a:lnTo>
                <a:lnTo>
                  <a:pt x="1051611" y="75406"/>
                </a:lnTo>
                <a:lnTo>
                  <a:pt x="1061934" y="68659"/>
                </a:lnTo>
                <a:lnTo>
                  <a:pt x="1073051" y="63103"/>
                </a:lnTo>
                <a:lnTo>
                  <a:pt x="1084168" y="58341"/>
                </a:lnTo>
                <a:lnTo>
                  <a:pt x="1095683" y="53975"/>
                </a:lnTo>
                <a:lnTo>
                  <a:pt x="1112358" y="47228"/>
                </a:lnTo>
                <a:lnTo>
                  <a:pt x="1131019" y="40084"/>
                </a:lnTo>
                <a:lnTo>
                  <a:pt x="1150872" y="32544"/>
                </a:lnTo>
                <a:lnTo>
                  <a:pt x="1171915" y="25400"/>
                </a:lnTo>
                <a:lnTo>
                  <a:pt x="1194547" y="18653"/>
                </a:lnTo>
                <a:lnTo>
                  <a:pt x="1206458" y="15875"/>
                </a:lnTo>
                <a:lnTo>
                  <a:pt x="1218369" y="12303"/>
                </a:lnTo>
                <a:lnTo>
                  <a:pt x="1230281" y="9525"/>
                </a:lnTo>
                <a:lnTo>
                  <a:pt x="1242986" y="7144"/>
                </a:lnTo>
                <a:lnTo>
                  <a:pt x="1255294" y="5159"/>
                </a:lnTo>
                <a:lnTo>
                  <a:pt x="1268397" y="3175"/>
                </a:lnTo>
                <a:lnTo>
                  <a:pt x="1281102" y="1588"/>
                </a:lnTo>
                <a:lnTo>
                  <a:pt x="1294602" y="794"/>
                </a:lnTo>
                <a:lnTo>
                  <a:pt x="1307704" y="0"/>
                </a:lnTo>
                <a:close/>
              </a:path>
            </a:pathLst>
          </a:custGeom>
          <a:solidFill>
            <a:schemeClr val="bg1">
              <a:lumMod val="95000"/>
            </a:schemeClr>
          </a:solidFill>
          <a:ln>
            <a:noFill/>
          </a:ln>
          <a:extLst/>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defTabSz="914377">
              <a:defRPr/>
            </a:pPr>
            <a:endParaRPr lang="zh-CN" altLang="en-US">
              <a:solidFill>
                <a:srgbClr val="FF0000"/>
              </a:solidFill>
            </a:endParaRPr>
          </a:p>
        </p:txBody>
      </p:sp>
      <p:sp>
        <p:nvSpPr>
          <p:cNvPr id="22" name="圆角矩形 21"/>
          <p:cNvSpPr/>
          <p:nvPr/>
        </p:nvSpPr>
        <p:spPr>
          <a:xfrm>
            <a:off x="6192838" y="5581650"/>
            <a:ext cx="4752975" cy="503238"/>
          </a:xfrm>
          <a:prstGeom prst="round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r>
              <a:rPr lang="zh-CN" altLang="en-US" sz="2400" b="1" dirty="0">
                <a:solidFill>
                  <a:srgbClr val="C00000"/>
                </a:solidFill>
              </a:rPr>
              <a:t>月收入</a:t>
            </a:r>
            <a:r>
              <a:rPr lang="en-US" altLang="zh-CN" sz="2400" b="1" dirty="0">
                <a:solidFill>
                  <a:srgbClr val="C00000"/>
                </a:solidFill>
              </a:rPr>
              <a:t>5000</a:t>
            </a:r>
            <a:r>
              <a:rPr lang="zh-CN" altLang="en-US" sz="2400" b="1" dirty="0">
                <a:solidFill>
                  <a:srgbClr val="C00000"/>
                </a:solidFill>
              </a:rPr>
              <a:t>以上     </a:t>
            </a:r>
            <a:r>
              <a:rPr lang="en-US" altLang="zh-CN" sz="2400" b="1" dirty="0">
                <a:solidFill>
                  <a:srgbClr val="C00000"/>
                </a:solidFill>
              </a:rPr>
              <a:t>20-45</a:t>
            </a:r>
            <a:r>
              <a:rPr lang="zh-CN" altLang="en-US" sz="2400" b="1" dirty="0">
                <a:solidFill>
                  <a:srgbClr val="C00000"/>
                </a:solidFill>
              </a:rPr>
              <a:t>岁</a:t>
            </a:r>
          </a:p>
        </p:txBody>
      </p:sp>
      <p:grpSp>
        <p:nvGrpSpPr>
          <p:cNvPr id="139280" name="组合 22"/>
          <p:cNvGrpSpPr>
            <a:grpSpLocks/>
          </p:cNvGrpSpPr>
          <p:nvPr/>
        </p:nvGrpSpPr>
        <p:grpSpPr bwMode="auto">
          <a:xfrm>
            <a:off x="5514975" y="3254375"/>
            <a:ext cx="1989138" cy="1644650"/>
            <a:chOff x="355" y="1234046"/>
            <a:chExt cx="1988913" cy="1645395"/>
          </a:xfrm>
        </p:grpSpPr>
        <p:sp>
          <p:nvSpPr>
            <p:cNvPr id="37" name="圆角矩形 36"/>
            <p:cNvSpPr/>
            <p:nvPr/>
          </p:nvSpPr>
          <p:spPr>
            <a:xfrm>
              <a:off x="355" y="1234046"/>
              <a:ext cx="1988913" cy="1645395"/>
            </a:xfrm>
            <a:prstGeom prst="roundRect">
              <a:avLst/>
            </a:pr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8" name="圆角矩形 4"/>
            <p:cNvSpPr/>
            <p:nvPr/>
          </p:nvSpPr>
          <p:spPr>
            <a:xfrm>
              <a:off x="81309" y="1315046"/>
              <a:ext cx="1827005" cy="1483397"/>
            </a:xfrm>
            <a:prstGeom prst="rect">
              <a:avLst/>
            </a:prstGeom>
          </p:spPr>
          <p:style>
            <a:lnRef idx="0">
              <a:scrgbClr r="0" g="0" b="0"/>
            </a:lnRef>
            <a:fillRef idx="0">
              <a:scrgbClr r="0" g="0" b="0"/>
            </a:fillRef>
            <a:effectRef idx="0">
              <a:scrgbClr r="0" g="0" b="0"/>
            </a:effectRef>
            <a:fontRef idx="minor">
              <a:schemeClr val="lt1"/>
            </a:fontRef>
          </p:style>
          <p:txBody>
            <a:bodyPr lIns="121920" tIns="121920" rIns="121920" bIns="121920" spcCol="1270" anchor="ctr"/>
            <a:lstStyle/>
            <a:p>
              <a:pPr algn="ctr" defTabSz="1422400" fontAlgn="auto">
                <a:lnSpc>
                  <a:spcPct val="90000"/>
                </a:lnSpc>
                <a:spcAft>
                  <a:spcPct val="35000"/>
                </a:spcAft>
                <a:defRPr/>
              </a:pPr>
              <a:r>
                <a:rPr lang="zh-CN" altLang="en-US" sz="3200" dirty="0"/>
                <a:t>高端</a:t>
              </a:r>
              <a:endParaRPr lang="en-US" altLang="zh-CN" sz="3200" dirty="0"/>
            </a:p>
            <a:p>
              <a:pPr algn="ctr" defTabSz="1422400" fontAlgn="auto">
                <a:lnSpc>
                  <a:spcPct val="90000"/>
                </a:lnSpc>
                <a:spcAft>
                  <a:spcPct val="35000"/>
                </a:spcAft>
                <a:defRPr/>
              </a:pPr>
              <a:r>
                <a:rPr lang="zh-CN" altLang="en-US" sz="3200" dirty="0"/>
                <a:t>品质</a:t>
              </a:r>
              <a:endParaRPr lang="zh-CN" altLang="en-US" sz="3200" dirty="0"/>
            </a:p>
          </p:txBody>
        </p:sp>
      </p:grpSp>
      <p:grpSp>
        <p:nvGrpSpPr>
          <p:cNvPr id="139281" name="组合 30"/>
          <p:cNvGrpSpPr>
            <a:grpSpLocks/>
          </p:cNvGrpSpPr>
          <p:nvPr/>
        </p:nvGrpSpPr>
        <p:grpSpPr bwMode="auto">
          <a:xfrm>
            <a:off x="7761288" y="3254375"/>
            <a:ext cx="1989137" cy="1644650"/>
            <a:chOff x="2245903" y="1234046"/>
            <a:chExt cx="1988913" cy="1645395"/>
          </a:xfrm>
        </p:grpSpPr>
        <p:sp>
          <p:nvSpPr>
            <p:cNvPr id="35" name="圆角矩形 34"/>
            <p:cNvSpPr/>
            <p:nvPr/>
          </p:nvSpPr>
          <p:spPr>
            <a:xfrm>
              <a:off x="2245903" y="1234046"/>
              <a:ext cx="1988913" cy="1645395"/>
            </a:xfrm>
            <a:prstGeom prst="roundRect">
              <a:avLst/>
            </a:pr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6" name="圆角矩形 6"/>
            <p:cNvSpPr/>
            <p:nvPr/>
          </p:nvSpPr>
          <p:spPr>
            <a:xfrm>
              <a:off x="2326856" y="1315046"/>
              <a:ext cx="1827007" cy="1483397"/>
            </a:xfrm>
            <a:prstGeom prst="rect">
              <a:avLst/>
            </a:prstGeom>
          </p:spPr>
          <p:style>
            <a:lnRef idx="0">
              <a:scrgbClr r="0" g="0" b="0"/>
            </a:lnRef>
            <a:fillRef idx="0">
              <a:scrgbClr r="0" g="0" b="0"/>
            </a:fillRef>
            <a:effectRef idx="0">
              <a:scrgbClr r="0" g="0" b="0"/>
            </a:effectRef>
            <a:fontRef idx="minor">
              <a:schemeClr val="lt1"/>
            </a:fontRef>
          </p:style>
          <p:txBody>
            <a:bodyPr lIns="121920" tIns="121920" rIns="121920" bIns="121920" spcCol="1270" anchor="ctr"/>
            <a:lstStyle/>
            <a:p>
              <a:pPr algn="ctr" defTabSz="1422400" fontAlgn="auto">
                <a:lnSpc>
                  <a:spcPct val="90000"/>
                </a:lnSpc>
                <a:spcAft>
                  <a:spcPct val="35000"/>
                </a:spcAft>
                <a:defRPr/>
              </a:pPr>
              <a:r>
                <a:rPr lang="zh-CN" altLang="en-US" sz="3200" dirty="0"/>
                <a:t>新事物尝试</a:t>
              </a:r>
              <a:endParaRPr lang="zh-CN" altLang="en-US" sz="3200" dirty="0"/>
            </a:p>
          </p:txBody>
        </p:sp>
      </p:grpSp>
      <p:grpSp>
        <p:nvGrpSpPr>
          <p:cNvPr id="139282" name="组合 31"/>
          <p:cNvGrpSpPr>
            <a:grpSpLocks/>
          </p:cNvGrpSpPr>
          <p:nvPr/>
        </p:nvGrpSpPr>
        <p:grpSpPr bwMode="auto">
          <a:xfrm>
            <a:off x="10006013" y="3254375"/>
            <a:ext cx="1989137" cy="1644650"/>
            <a:chOff x="4491450" y="1234046"/>
            <a:chExt cx="1988913" cy="1645395"/>
          </a:xfrm>
        </p:grpSpPr>
        <p:sp>
          <p:nvSpPr>
            <p:cNvPr id="33" name="圆角矩形 32"/>
            <p:cNvSpPr/>
            <p:nvPr/>
          </p:nvSpPr>
          <p:spPr>
            <a:xfrm>
              <a:off x="4491450" y="1234046"/>
              <a:ext cx="1988913" cy="1645395"/>
            </a:xfrm>
            <a:prstGeom prst="roundRect">
              <a:avLst/>
            </a:pr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4" name="圆角矩形 8"/>
            <p:cNvSpPr/>
            <p:nvPr/>
          </p:nvSpPr>
          <p:spPr>
            <a:xfrm>
              <a:off x="4572403" y="1315046"/>
              <a:ext cx="1827007" cy="1483397"/>
            </a:xfrm>
            <a:prstGeom prst="rect">
              <a:avLst/>
            </a:prstGeom>
          </p:spPr>
          <p:style>
            <a:lnRef idx="0">
              <a:scrgbClr r="0" g="0" b="0"/>
            </a:lnRef>
            <a:fillRef idx="0">
              <a:scrgbClr r="0" g="0" b="0"/>
            </a:fillRef>
            <a:effectRef idx="0">
              <a:scrgbClr r="0" g="0" b="0"/>
            </a:effectRef>
            <a:fontRef idx="minor">
              <a:schemeClr val="lt1"/>
            </a:fontRef>
          </p:style>
          <p:txBody>
            <a:bodyPr lIns="121920" tIns="121920" rIns="121920" bIns="121920" spcCol="1270" anchor="ctr"/>
            <a:lstStyle/>
            <a:p>
              <a:pPr algn="ctr" defTabSz="1422400" fontAlgn="auto">
                <a:lnSpc>
                  <a:spcPct val="90000"/>
                </a:lnSpc>
                <a:spcAft>
                  <a:spcPct val="35000"/>
                </a:spcAft>
                <a:defRPr/>
              </a:pPr>
              <a:r>
                <a:rPr lang="zh-CN" altLang="en-US" sz="3200" dirty="0"/>
                <a:t>愿意</a:t>
              </a:r>
              <a:endParaRPr lang="en-US" altLang="zh-CN" sz="3200" dirty="0"/>
            </a:p>
            <a:p>
              <a:pPr algn="ctr" defTabSz="1422400" fontAlgn="auto">
                <a:lnSpc>
                  <a:spcPct val="90000"/>
                </a:lnSpc>
                <a:spcAft>
                  <a:spcPct val="35000"/>
                </a:spcAft>
                <a:defRPr/>
              </a:pPr>
              <a:r>
                <a:rPr lang="zh-CN" altLang="en-US" sz="3200" dirty="0"/>
                <a:t>分享</a:t>
              </a:r>
              <a:endParaRPr lang="zh-CN" altLang="en-US" sz="3200" dirty="0"/>
            </a:p>
          </p:txBody>
        </p:sp>
      </p:gr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任意多边形 51"/>
          <p:cNvSpPr/>
          <p:nvPr>
            <p:custDataLst>
              <p:tags r:id="rId2"/>
            </p:custDataLst>
          </p:nvPr>
        </p:nvSpPr>
        <p:spPr>
          <a:xfrm>
            <a:off x="2338388" y="3049588"/>
            <a:ext cx="758825" cy="758825"/>
          </a:xfrm>
          <a:custGeom>
            <a:avLst/>
            <a:gdLst>
              <a:gd name="connsiteX0" fmla="*/ 697058 w 800580"/>
              <a:gd name="connsiteY0" fmla="*/ 60232 h 756662"/>
              <a:gd name="connsiteX1" fmla="*/ 653766 w 800580"/>
              <a:gd name="connsiteY1" fmla="*/ 99132 h 756662"/>
              <a:gd name="connsiteX2" fmla="*/ 697058 w 800580"/>
              <a:gd name="connsiteY2" fmla="*/ 138032 h 756662"/>
              <a:gd name="connsiteX3" fmla="*/ 740350 w 800580"/>
              <a:gd name="connsiteY3" fmla="*/ 99132 h 756662"/>
              <a:gd name="connsiteX4" fmla="*/ 697058 w 800580"/>
              <a:gd name="connsiteY4" fmla="*/ 60232 h 756662"/>
              <a:gd name="connsiteX5" fmla="*/ 400291 w 800580"/>
              <a:gd name="connsiteY5" fmla="*/ 0 h 756662"/>
              <a:gd name="connsiteX6" fmla="*/ 800580 w 800580"/>
              <a:gd name="connsiteY6" fmla="*/ 0 h 756662"/>
              <a:gd name="connsiteX7" fmla="*/ 800580 w 800580"/>
              <a:gd name="connsiteY7" fmla="*/ 378331 h 756662"/>
              <a:gd name="connsiteX8" fmla="*/ 400290 w 800580"/>
              <a:gd name="connsiteY8" fmla="*/ 756662 h 756662"/>
              <a:gd name="connsiteX9" fmla="*/ 0 w 800580"/>
              <a:gd name="connsiteY9" fmla="*/ 378331 h 756662"/>
              <a:gd name="connsiteX10" fmla="*/ 1 w 800580"/>
              <a:gd name="connsiteY10" fmla="*/ 378331 h 756662"/>
              <a:gd name="connsiteX11" fmla="*/ 400291 w 800580"/>
              <a:gd name="connsiteY11" fmla="*/ 0 h 75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0580" h="756662">
                <a:moveTo>
                  <a:pt x="697058" y="60232"/>
                </a:moveTo>
                <a:cubicBezTo>
                  <a:pt x="673148" y="60232"/>
                  <a:pt x="653766" y="77648"/>
                  <a:pt x="653766" y="99132"/>
                </a:cubicBezTo>
                <a:cubicBezTo>
                  <a:pt x="653766" y="120616"/>
                  <a:pt x="673148" y="138032"/>
                  <a:pt x="697058" y="138032"/>
                </a:cubicBezTo>
                <a:cubicBezTo>
                  <a:pt x="720968" y="138032"/>
                  <a:pt x="740350" y="120616"/>
                  <a:pt x="740350" y="99132"/>
                </a:cubicBezTo>
                <a:cubicBezTo>
                  <a:pt x="740350" y="77648"/>
                  <a:pt x="720968" y="60232"/>
                  <a:pt x="697058" y="60232"/>
                </a:cubicBezTo>
                <a:close/>
                <a:moveTo>
                  <a:pt x="400291" y="0"/>
                </a:moveTo>
                <a:lnTo>
                  <a:pt x="800580" y="0"/>
                </a:lnTo>
                <a:lnTo>
                  <a:pt x="800580" y="378331"/>
                </a:lnTo>
                <a:cubicBezTo>
                  <a:pt x="800580" y="587277"/>
                  <a:pt x="621364" y="756662"/>
                  <a:pt x="400290" y="756662"/>
                </a:cubicBezTo>
                <a:cubicBezTo>
                  <a:pt x="179216" y="756662"/>
                  <a:pt x="0" y="587277"/>
                  <a:pt x="0" y="378331"/>
                </a:cubicBezTo>
                <a:lnTo>
                  <a:pt x="1" y="378331"/>
                </a:lnTo>
                <a:cubicBezTo>
                  <a:pt x="1" y="169385"/>
                  <a:pt x="179217" y="0"/>
                  <a:pt x="400291" y="0"/>
                </a:cubicBezTo>
                <a:close/>
              </a:path>
            </a:pathLst>
          </a:custGeom>
          <a:solidFill>
            <a:srgbClr val="D2453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r>
              <a:rPr lang="en-US" altLang="zh-CN" sz="2800" dirty="0">
                <a:solidFill>
                  <a:srgbClr val="FFFFFF"/>
                </a:solidFill>
                <a:latin typeface="Kozuka Mincho Pr6N H" panose="02020900000000000000" pitchFamily="18" charset="-128"/>
                <a:ea typeface="Kozuka Mincho Pr6N H" panose="02020900000000000000" pitchFamily="18" charset="-128"/>
              </a:rPr>
              <a:t>2</a:t>
            </a:r>
            <a:endParaRPr lang="zh-CN" altLang="en-US" sz="2800" dirty="0">
              <a:solidFill>
                <a:srgbClr val="FFFFFF"/>
              </a:solidFill>
              <a:latin typeface="Kozuka Mincho Pr6N H" panose="02020900000000000000" pitchFamily="18" charset="-128"/>
              <a:ea typeface="Kozuka Mincho Pr6N H" panose="02020900000000000000" pitchFamily="18" charset="-128"/>
            </a:endParaRPr>
          </a:p>
        </p:txBody>
      </p:sp>
      <p:sp>
        <p:nvSpPr>
          <p:cNvPr id="22" name="矩形 21"/>
          <p:cNvSpPr/>
          <p:nvPr>
            <p:custDataLst>
              <p:tags r:id="rId3"/>
            </p:custDataLst>
          </p:nvPr>
        </p:nvSpPr>
        <p:spPr>
          <a:xfrm>
            <a:off x="3324225" y="3186113"/>
            <a:ext cx="7183438" cy="485775"/>
          </a:xfrm>
          <a:prstGeom prst="rect">
            <a:avLst/>
          </a:prstGeom>
          <a:solidFill>
            <a:srgbClr val="D2453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defTabSz="914377" fontAlgn="auto">
              <a:spcBef>
                <a:spcPts val="0"/>
              </a:spcBef>
              <a:spcAft>
                <a:spcPts val="0"/>
              </a:spcAft>
              <a:defRPr/>
            </a:pPr>
            <a:r>
              <a:rPr lang="zh-CN" altLang="en-US" sz="2400" dirty="0">
                <a:solidFill>
                  <a:srgbClr val="FFFFFF"/>
                </a:solidFill>
                <a:latin typeface="微软雅黑" panose="020B0503020204020204" pitchFamily="34" charset="-122"/>
              </a:rPr>
              <a:t>中国</a:t>
            </a:r>
            <a:r>
              <a:rPr lang="zh-CN" altLang="en-US" sz="2400" dirty="0">
                <a:solidFill>
                  <a:srgbClr val="FFFFFF"/>
                </a:solidFill>
                <a:latin typeface="微软雅黑" panose="020B0503020204020204" pitchFamily="34" charset="-122"/>
              </a:rPr>
              <a:t>媒介</a:t>
            </a:r>
            <a:r>
              <a:rPr lang="zh-CN" altLang="en-US" sz="2400" dirty="0">
                <a:solidFill>
                  <a:srgbClr val="FFFFFF"/>
                </a:solidFill>
                <a:latin typeface="微软雅黑" panose="020B0503020204020204" pitchFamily="34" charset="-122"/>
              </a:rPr>
              <a:t>市场</a:t>
            </a:r>
            <a:r>
              <a:rPr lang="zh-CN" altLang="en-US" sz="2400" dirty="0">
                <a:solidFill>
                  <a:srgbClr val="FFFFFF"/>
                </a:solidFill>
                <a:latin typeface="微软雅黑" panose="020B0503020204020204" pitchFamily="34" charset="-122"/>
              </a:rPr>
              <a:t>趋势</a:t>
            </a:r>
          </a:p>
        </p:txBody>
      </p:sp>
      <p:sp>
        <p:nvSpPr>
          <p:cNvPr id="11" name="文本框 10"/>
          <p:cNvSpPr txBox="1"/>
          <p:nvPr>
            <p:custDataLst>
              <p:tags r:id="rId4"/>
            </p:custDataLst>
          </p:nvPr>
        </p:nvSpPr>
        <p:spPr>
          <a:xfrm>
            <a:off x="263525" y="115888"/>
            <a:ext cx="3317875" cy="1060450"/>
          </a:xfrm>
          <a:prstGeom prst="rect">
            <a:avLst/>
          </a:prstGeom>
          <a:noFill/>
        </p:spPr>
        <p:txBody>
          <a:bodyPr anchor="ctr"/>
          <a:lstStyle/>
          <a:p>
            <a:pPr algn="r" defTabSz="914377" fontAlgn="auto">
              <a:spcBef>
                <a:spcPts val="0"/>
              </a:spcBef>
              <a:spcAft>
                <a:spcPts val="0"/>
              </a:spcAft>
              <a:defRPr/>
            </a:pPr>
            <a:r>
              <a:rPr lang="en-US" altLang="zh-CN" sz="4000" spc="400" dirty="0">
                <a:solidFill>
                  <a:srgbClr val="BA0D09"/>
                </a:solidFill>
                <a:latin typeface="Algerian" panose="04020705040A02060702" pitchFamily="82" charset="0"/>
                <a:ea typeface="Kozuka Mincho Pro H" panose="02020A00000000000000" pitchFamily="18" charset="-128"/>
              </a:rPr>
              <a:t>Contents</a:t>
            </a:r>
            <a:endParaRPr lang="en-US" altLang="zh-CN" sz="4000" spc="400" dirty="0">
              <a:solidFill>
                <a:srgbClr val="BA0D09"/>
              </a:solidFill>
              <a:latin typeface="Algerian" panose="04020705040A02060702" pitchFamily="82" charset="0"/>
              <a:ea typeface="Kozuka Mincho Pro H" panose="02020A00000000000000" pitchFamily="18" charset="-128"/>
            </a:endParaRPr>
          </a:p>
        </p:txBody>
      </p:sp>
    </p:spTree>
    <p:custDataLst>
      <p:tags r:id="rId1"/>
    </p:custData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3" name="矩形 2"/>
          <p:cNvSpPr>
            <a:spLocks noChangeArrowheads="1"/>
          </p:cNvSpPr>
          <p:nvPr/>
        </p:nvSpPr>
        <p:spPr bwMode="auto">
          <a:xfrm>
            <a:off x="671513" y="296863"/>
            <a:ext cx="10848975" cy="1681162"/>
          </a:xfrm>
          <a:prstGeom prst="rect">
            <a:avLst/>
          </a:prstGeom>
          <a:noFill/>
          <a:ln w="9525">
            <a:noFill/>
            <a:miter lim="800000"/>
            <a:headEnd/>
            <a:tailEnd/>
          </a:ln>
        </p:spPr>
        <p:txBody>
          <a:bodyPr lIns="111109" tIns="55554" rIns="111109" bIns="55554">
            <a:spAutoFit/>
          </a:bodyPr>
          <a:lstStyle/>
          <a:p>
            <a:r>
              <a:rPr lang="zh-CN" altLang="en-US" sz="3400" b="1">
                <a:latin typeface="微软雅黑" pitchFamily="34" charset="-122"/>
                <a:ea typeface="微软雅黑" pitchFamily="34" charset="-122"/>
              </a:rPr>
              <a:t>广告大市场进入缓慢增长阶段</a:t>
            </a:r>
            <a:endParaRPr lang="en-US" altLang="zh-CN" sz="3400" b="1">
              <a:latin typeface="微软雅黑" pitchFamily="34" charset="-122"/>
              <a:ea typeface="微软雅黑" pitchFamily="34" charset="-122"/>
            </a:endParaRPr>
          </a:p>
          <a:p>
            <a:endParaRPr lang="en-US" altLang="zh-CN" sz="3400" b="1">
              <a:latin typeface="微软雅黑" pitchFamily="34" charset="-122"/>
              <a:ea typeface="微软雅黑" pitchFamily="34" charset="-122"/>
            </a:endParaRPr>
          </a:p>
          <a:p>
            <a:r>
              <a:rPr lang="en-US" altLang="zh-CN" sz="3400" b="1">
                <a:latin typeface="微软雅黑" pitchFamily="34" charset="-122"/>
                <a:ea typeface="微软雅黑" pitchFamily="34" charset="-122"/>
              </a:rPr>
              <a:t>2015</a:t>
            </a:r>
            <a:r>
              <a:rPr lang="zh-CN" altLang="en-US" sz="3400" b="1">
                <a:latin typeface="微软雅黑" pitchFamily="34" charset="-122"/>
                <a:ea typeface="微软雅黑" pitchFamily="34" charset="-122"/>
              </a:rPr>
              <a:t>中国广告市场</a:t>
            </a:r>
            <a:r>
              <a:rPr lang="en-US" altLang="zh-CN" sz="3400" b="1">
                <a:latin typeface="微软雅黑" pitchFamily="34" charset="-122"/>
                <a:ea typeface="微软雅黑" pitchFamily="34" charset="-122"/>
              </a:rPr>
              <a:t>-2.9%,2016</a:t>
            </a:r>
            <a:r>
              <a:rPr lang="zh-CN" altLang="en-US" sz="3400" b="1">
                <a:latin typeface="微软雅黑" pitchFamily="34" charset="-122"/>
                <a:ea typeface="微软雅黑" pitchFamily="34" charset="-122"/>
              </a:rPr>
              <a:t>中国广告市场</a:t>
            </a:r>
            <a:r>
              <a:rPr lang="en-US" altLang="zh-CN" sz="3400" b="1">
                <a:latin typeface="微软雅黑" pitchFamily="34" charset="-122"/>
                <a:ea typeface="微软雅黑" pitchFamily="34" charset="-122"/>
              </a:rPr>
              <a:t>-0.6%</a:t>
            </a:r>
            <a:endParaRPr lang="zh-CN" altLang="en-US" sz="3400" b="1">
              <a:latin typeface="微软雅黑" pitchFamily="34" charset="-122"/>
              <a:ea typeface="微软雅黑" pitchFamily="34" charset="-122"/>
            </a:endParaRPr>
          </a:p>
        </p:txBody>
      </p:sp>
      <p:sp>
        <p:nvSpPr>
          <p:cNvPr id="141314" name="TextBox 1"/>
          <p:cNvSpPr txBox="1">
            <a:spLocks noChangeArrowheads="1"/>
          </p:cNvSpPr>
          <p:nvPr/>
        </p:nvSpPr>
        <p:spPr bwMode="auto">
          <a:xfrm>
            <a:off x="1820863" y="2382838"/>
            <a:ext cx="2873375" cy="1344612"/>
          </a:xfrm>
          <a:prstGeom prst="rect">
            <a:avLst/>
          </a:prstGeom>
          <a:noFill/>
          <a:ln w="9525">
            <a:solidFill>
              <a:schemeClr val="bg1"/>
            </a:solidFill>
            <a:miter lim="800000"/>
            <a:headEnd/>
            <a:tailEnd/>
          </a:ln>
        </p:spPr>
        <p:txBody>
          <a:bodyPr wrap="none" lIns="111109" tIns="55554" rIns="111109" bIns="55554">
            <a:spAutoFit/>
          </a:bodyPr>
          <a:lstStyle/>
          <a:p>
            <a:r>
              <a:rPr lang="en-US" altLang="zh-CN" sz="8000" b="1">
                <a:solidFill>
                  <a:schemeClr val="accent1"/>
                </a:solidFill>
                <a:latin typeface="Times New Roman" pitchFamily="18" charset="0"/>
                <a:ea typeface="华文中宋"/>
                <a:cs typeface="华文中宋"/>
              </a:rPr>
              <a:t>-2.9%</a:t>
            </a:r>
          </a:p>
        </p:txBody>
      </p:sp>
      <p:sp>
        <p:nvSpPr>
          <p:cNvPr id="5" name="KSO_Shape"/>
          <p:cNvSpPr>
            <a:spLocks/>
          </p:cNvSpPr>
          <p:nvPr/>
        </p:nvSpPr>
        <p:spPr bwMode="auto">
          <a:xfrm flipH="1">
            <a:off x="4872038" y="2022475"/>
            <a:ext cx="2859087" cy="2193925"/>
          </a:xfrm>
          <a:custGeom>
            <a:avLst/>
            <a:gdLst>
              <a:gd name="T0" fmla="*/ 984018 w 1589088"/>
              <a:gd name="T1" fmla="*/ 589506 h 1589088"/>
              <a:gd name="T2" fmla="*/ 955171 w 1589088"/>
              <a:gd name="T3" fmla="*/ 645802 h 1589088"/>
              <a:gd name="T4" fmla="*/ 898294 w 1589088"/>
              <a:gd name="T5" fmla="*/ 673272 h 1589088"/>
              <a:gd name="T6" fmla="*/ 881422 w 1589088"/>
              <a:gd name="T7" fmla="*/ 964824 h 1589088"/>
              <a:gd name="T8" fmla="*/ 873530 w 1589088"/>
              <a:gd name="T9" fmla="*/ 1040159 h 1589088"/>
              <a:gd name="T10" fmla="*/ 824817 w 1589088"/>
              <a:gd name="T11" fmla="*/ 1084490 h 1589088"/>
              <a:gd name="T12" fmla="*/ 756238 w 1589088"/>
              <a:gd name="T13" fmla="*/ 1088026 h 1589088"/>
              <a:gd name="T14" fmla="*/ 703444 w 1589088"/>
              <a:gd name="T15" fmla="*/ 1048590 h 1589088"/>
              <a:gd name="T16" fmla="*/ 686571 w 1589088"/>
              <a:gd name="T17" fmla="*/ 985493 h 1589088"/>
              <a:gd name="T18" fmla="*/ 486007 w 1589088"/>
              <a:gd name="T19" fmla="*/ 893024 h 1589088"/>
              <a:gd name="T20" fmla="*/ 398106 w 1589088"/>
              <a:gd name="T21" fmla="*/ 820680 h 1589088"/>
              <a:gd name="T22" fmla="*/ 402189 w 1589088"/>
              <a:gd name="T23" fmla="*/ 755134 h 1589088"/>
              <a:gd name="T24" fmla="*/ 446547 w 1589088"/>
              <a:gd name="T25" fmla="*/ 706452 h 1589088"/>
              <a:gd name="T26" fmla="*/ 514037 w 1589088"/>
              <a:gd name="T27" fmla="*/ 696389 h 1589088"/>
              <a:gd name="T28" fmla="*/ 570641 w 1589088"/>
              <a:gd name="T29" fmla="*/ 730385 h 1589088"/>
              <a:gd name="T30" fmla="*/ 593501 w 1589088"/>
              <a:gd name="T31" fmla="*/ 794027 h 1589088"/>
              <a:gd name="T32" fmla="*/ 818558 w 1589088"/>
              <a:gd name="T33" fmla="*/ 648522 h 1589088"/>
              <a:gd name="T34" fmla="*/ 785901 w 1589088"/>
              <a:gd name="T35" fmla="*/ 575091 h 1589088"/>
              <a:gd name="T36" fmla="*/ 808761 w 1589088"/>
              <a:gd name="T37" fmla="*/ 511721 h 1589088"/>
              <a:gd name="T38" fmla="*/ 865365 w 1589088"/>
              <a:gd name="T39" fmla="*/ 477726 h 1589088"/>
              <a:gd name="T40" fmla="*/ 728574 w 1589088"/>
              <a:gd name="T41" fmla="*/ 144010 h 1589088"/>
              <a:gd name="T42" fmla="*/ 531280 w 1589088"/>
              <a:gd name="T43" fmla="*/ 182593 h 1589088"/>
              <a:gd name="T44" fmla="*/ 353281 w 1589088"/>
              <a:gd name="T45" fmla="*/ 288291 h 1589088"/>
              <a:gd name="T46" fmla="*/ 219577 w 1589088"/>
              <a:gd name="T47" fmla="*/ 451592 h 1589088"/>
              <a:gd name="T48" fmla="*/ 152454 w 1589088"/>
              <a:gd name="T49" fmla="*/ 642880 h 1589088"/>
              <a:gd name="T50" fmla="*/ 152454 w 1589088"/>
              <a:gd name="T51" fmla="*/ 843135 h 1589088"/>
              <a:gd name="T52" fmla="*/ 219577 w 1589088"/>
              <a:gd name="T53" fmla="*/ 1034422 h 1589088"/>
              <a:gd name="T54" fmla="*/ 353281 w 1589088"/>
              <a:gd name="T55" fmla="*/ 1197724 h 1589088"/>
              <a:gd name="T56" fmla="*/ 531280 w 1589088"/>
              <a:gd name="T57" fmla="*/ 1303421 h 1589088"/>
              <a:gd name="T58" fmla="*/ 728574 w 1589088"/>
              <a:gd name="T59" fmla="*/ 1341734 h 1589088"/>
              <a:gd name="T60" fmla="*/ 927227 w 1589088"/>
              <a:gd name="T61" fmla="*/ 1312931 h 1589088"/>
              <a:gd name="T62" fmla="*/ 1109302 w 1589088"/>
              <a:gd name="T63" fmla="*/ 1217015 h 1589088"/>
              <a:gd name="T64" fmla="*/ 1251431 w 1589088"/>
              <a:gd name="T65" fmla="*/ 1059964 h 1589088"/>
              <a:gd name="T66" fmla="*/ 1328065 w 1589088"/>
              <a:gd name="T67" fmla="*/ 871393 h 1589088"/>
              <a:gd name="T68" fmla="*/ 1337576 w 1589088"/>
              <a:gd name="T69" fmla="*/ 671410 h 1589088"/>
              <a:gd name="T70" fmla="*/ 1280237 w 1589088"/>
              <a:gd name="T71" fmla="*/ 477677 h 1589088"/>
              <a:gd name="T72" fmla="*/ 1155500 w 1589088"/>
              <a:gd name="T73" fmla="*/ 308670 h 1589088"/>
              <a:gd name="T74" fmla="*/ 981849 w 1589088"/>
              <a:gd name="T75" fmla="*/ 193462 h 1589088"/>
              <a:gd name="T76" fmla="*/ 785915 w 1589088"/>
              <a:gd name="T77" fmla="*/ 145640 h 1589088"/>
              <a:gd name="T78" fmla="*/ 902226 w 1589088"/>
              <a:gd name="T79" fmla="*/ 17390 h 1589088"/>
              <a:gd name="T80" fmla="*/ 1136207 w 1589088"/>
              <a:gd name="T81" fmla="*/ 112491 h 1589088"/>
              <a:gd name="T82" fmla="*/ 1320999 w 1589088"/>
              <a:gd name="T83" fmla="*/ 276063 h 1589088"/>
              <a:gd name="T84" fmla="*/ 1429702 w 1589088"/>
              <a:gd name="T85" fmla="*/ 459201 h 1589088"/>
              <a:gd name="T86" fmla="*/ 1481334 w 1589088"/>
              <a:gd name="T87" fmla="*/ 660270 h 1589088"/>
              <a:gd name="T88" fmla="*/ 1475356 w 1589088"/>
              <a:gd name="T89" fmla="*/ 866502 h 1589088"/>
              <a:gd name="T90" fmla="*/ 1412581 w 1589088"/>
              <a:gd name="T91" fmla="*/ 1064855 h 1589088"/>
              <a:gd name="T92" fmla="*/ 1892771 w 1589088"/>
              <a:gd name="T93" fmla="*/ 1636001 h 1589088"/>
              <a:gd name="T94" fmla="*/ 1896304 w 1589088"/>
              <a:gd name="T95" fmla="*/ 1759632 h 1589088"/>
              <a:gd name="T96" fmla="*/ 1783798 w 1589088"/>
              <a:gd name="T97" fmla="*/ 1885980 h 1589088"/>
              <a:gd name="T98" fmla="*/ 1662866 w 1589088"/>
              <a:gd name="T99" fmla="*/ 1900381 h 1589088"/>
              <a:gd name="T100" fmla="*/ 1104954 w 1589088"/>
              <a:gd name="T101" fmla="*/ 1391458 h 1589088"/>
              <a:gd name="T102" fmla="*/ 909835 w 1589088"/>
              <a:gd name="T103" fmla="*/ 1466451 h 1589088"/>
              <a:gd name="T104" fmla="*/ 704388 w 1589088"/>
              <a:gd name="T105" fmla="*/ 1484656 h 1589088"/>
              <a:gd name="T106" fmla="*/ 501116 w 1589088"/>
              <a:gd name="T107" fmla="*/ 1445528 h 1589088"/>
              <a:gd name="T108" fmla="*/ 313061 w 1589088"/>
              <a:gd name="T109" fmla="*/ 1349069 h 1589088"/>
              <a:gd name="T110" fmla="*/ 143758 w 1589088"/>
              <a:gd name="T111" fmla="*/ 1181965 h 1589088"/>
              <a:gd name="T112" fmla="*/ 30708 w 1589088"/>
              <a:gd name="T113" fmla="*/ 954538 h 1589088"/>
              <a:gd name="T114" fmla="*/ 815 w 1589088"/>
              <a:gd name="T115" fmla="*/ 707277 h 1589088"/>
              <a:gd name="T116" fmla="*/ 54351 w 1589088"/>
              <a:gd name="T117" fmla="*/ 463275 h 1589088"/>
              <a:gd name="T118" fmla="*/ 191315 w 1589088"/>
              <a:gd name="T119" fmla="*/ 245360 h 1589088"/>
              <a:gd name="T120" fmla="*/ 397577 w 1589088"/>
              <a:gd name="T121" fmla="*/ 85319 h 1589088"/>
              <a:gd name="T122" fmla="*/ 636177 w 1589088"/>
              <a:gd name="T123" fmla="*/ 7880 h 158908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589088" h="1589088">
                <a:moveTo>
                  <a:pt x="916859" y="288925"/>
                </a:moveTo>
                <a:lnTo>
                  <a:pt x="954088" y="332030"/>
                </a:lnTo>
                <a:lnTo>
                  <a:pt x="816067" y="450682"/>
                </a:lnTo>
                <a:lnTo>
                  <a:pt x="817430" y="454085"/>
                </a:lnTo>
                <a:lnTo>
                  <a:pt x="818338" y="457488"/>
                </a:lnTo>
                <a:lnTo>
                  <a:pt x="819246" y="461118"/>
                </a:lnTo>
                <a:lnTo>
                  <a:pt x="820381" y="464748"/>
                </a:lnTo>
                <a:lnTo>
                  <a:pt x="820835" y="468378"/>
                </a:lnTo>
                <a:lnTo>
                  <a:pt x="821289" y="472008"/>
                </a:lnTo>
                <a:lnTo>
                  <a:pt x="821743" y="475865"/>
                </a:lnTo>
                <a:lnTo>
                  <a:pt x="821743" y="479722"/>
                </a:lnTo>
                <a:lnTo>
                  <a:pt x="821743" y="483805"/>
                </a:lnTo>
                <a:lnTo>
                  <a:pt x="821289" y="487662"/>
                </a:lnTo>
                <a:lnTo>
                  <a:pt x="820835" y="491746"/>
                </a:lnTo>
                <a:lnTo>
                  <a:pt x="820154" y="495602"/>
                </a:lnTo>
                <a:lnTo>
                  <a:pt x="819246" y="499459"/>
                </a:lnTo>
                <a:lnTo>
                  <a:pt x="818338" y="503089"/>
                </a:lnTo>
                <a:lnTo>
                  <a:pt x="816976" y="506946"/>
                </a:lnTo>
                <a:lnTo>
                  <a:pt x="815840" y="510349"/>
                </a:lnTo>
                <a:lnTo>
                  <a:pt x="814251" y="513979"/>
                </a:lnTo>
                <a:lnTo>
                  <a:pt x="812662" y="517382"/>
                </a:lnTo>
                <a:lnTo>
                  <a:pt x="810619" y="520785"/>
                </a:lnTo>
                <a:lnTo>
                  <a:pt x="808803" y="523961"/>
                </a:lnTo>
                <a:lnTo>
                  <a:pt x="806760" y="527137"/>
                </a:lnTo>
                <a:lnTo>
                  <a:pt x="804263" y="530313"/>
                </a:lnTo>
                <a:lnTo>
                  <a:pt x="801993" y="533036"/>
                </a:lnTo>
                <a:lnTo>
                  <a:pt x="799496" y="535985"/>
                </a:lnTo>
                <a:lnTo>
                  <a:pt x="796772" y="538707"/>
                </a:lnTo>
                <a:lnTo>
                  <a:pt x="794048" y="541203"/>
                </a:lnTo>
                <a:lnTo>
                  <a:pt x="791324" y="543698"/>
                </a:lnTo>
                <a:lnTo>
                  <a:pt x="788146" y="545967"/>
                </a:lnTo>
                <a:lnTo>
                  <a:pt x="785194" y="548009"/>
                </a:lnTo>
                <a:lnTo>
                  <a:pt x="781789" y="550051"/>
                </a:lnTo>
                <a:lnTo>
                  <a:pt x="778611" y="552093"/>
                </a:lnTo>
                <a:lnTo>
                  <a:pt x="775433" y="553908"/>
                </a:lnTo>
                <a:lnTo>
                  <a:pt x="771801" y="555496"/>
                </a:lnTo>
                <a:lnTo>
                  <a:pt x="768396" y="556857"/>
                </a:lnTo>
                <a:lnTo>
                  <a:pt x="764537" y="558218"/>
                </a:lnTo>
                <a:lnTo>
                  <a:pt x="760905" y="559352"/>
                </a:lnTo>
                <a:lnTo>
                  <a:pt x="757046" y="560260"/>
                </a:lnTo>
                <a:lnTo>
                  <a:pt x="753413" y="560940"/>
                </a:lnTo>
                <a:lnTo>
                  <a:pt x="749327" y="561621"/>
                </a:lnTo>
                <a:lnTo>
                  <a:pt x="745241" y="562075"/>
                </a:lnTo>
                <a:lnTo>
                  <a:pt x="692121" y="754005"/>
                </a:lnTo>
                <a:lnTo>
                  <a:pt x="697343" y="756728"/>
                </a:lnTo>
                <a:lnTo>
                  <a:pt x="702110" y="759904"/>
                </a:lnTo>
                <a:lnTo>
                  <a:pt x="706650" y="763080"/>
                </a:lnTo>
                <a:lnTo>
                  <a:pt x="710963" y="766937"/>
                </a:lnTo>
                <a:lnTo>
                  <a:pt x="715049" y="770794"/>
                </a:lnTo>
                <a:lnTo>
                  <a:pt x="718908" y="774877"/>
                </a:lnTo>
                <a:lnTo>
                  <a:pt x="722313" y="779188"/>
                </a:lnTo>
                <a:lnTo>
                  <a:pt x="725718" y="783952"/>
                </a:lnTo>
                <a:lnTo>
                  <a:pt x="728670" y="788943"/>
                </a:lnTo>
                <a:lnTo>
                  <a:pt x="731167" y="793934"/>
                </a:lnTo>
                <a:lnTo>
                  <a:pt x="733437" y="799379"/>
                </a:lnTo>
                <a:lnTo>
                  <a:pt x="735253" y="804824"/>
                </a:lnTo>
                <a:lnTo>
                  <a:pt x="736615" y="810496"/>
                </a:lnTo>
                <a:lnTo>
                  <a:pt x="737750" y="816167"/>
                </a:lnTo>
                <a:lnTo>
                  <a:pt x="738431" y="822066"/>
                </a:lnTo>
                <a:lnTo>
                  <a:pt x="738658" y="828191"/>
                </a:lnTo>
                <a:lnTo>
                  <a:pt x="738658" y="832729"/>
                </a:lnTo>
                <a:lnTo>
                  <a:pt x="738431" y="836812"/>
                </a:lnTo>
                <a:lnTo>
                  <a:pt x="737523" y="840896"/>
                </a:lnTo>
                <a:lnTo>
                  <a:pt x="736842" y="844980"/>
                </a:lnTo>
                <a:lnTo>
                  <a:pt x="735934" y="849063"/>
                </a:lnTo>
                <a:lnTo>
                  <a:pt x="734799" y="852920"/>
                </a:lnTo>
                <a:lnTo>
                  <a:pt x="733664" y="856777"/>
                </a:lnTo>
                <a:lnTo>
                  <a:pt x="732075" y="860407"/>
                </a:lnTo>
                <a:lnTo>
                  <a:pt x="730259" y="864263"/>
                </a:lnTo>
                <a:lnTo>
                  <a:pt x="728670" y="867666"/>
                </a:lnTo>
                <a:lnTo>
                  <a:pt x="726626" y="871296"/>
                </a:lnTo>
                <a:lnTo>
                  <a:pt x="724583" y="874699"/>
                </a:lnTo>
                <a:lnTo>
                  <a:pt x="722086" y="877876"/>
                </a:lnTo>
                <a:lnTo>
                  <a:pt x="719589" y="881052"/>
                </a:lnTo>
                <a:lnTo>
                  <a:pt x="717092" y="884228"/>
                </a:lnTo>
                <a:lnTo>
                  <a:pt x="714141" y="886950"/>
                </a:lnTo>
                <a:lnTo>
                  <a:pt x="711417" y="889673"/>
                </a:lnTo>
                <a:lnTo>
                  <a:pt x="708239" y="892395"/>
                </a:lnTo>
                <a:lnTo>
                  <a:pt x="705288" y="894891"/>
                </a:lnTo>
                <a:lnTo>
                  <a:pt x="702110" y="896933"/>
                </a:lnTo>
                <a:lnTo>
                  <a:pt x="698705" y="899428"/>
                </a:lnTo>
                <a:lnTo>
                  <a:pt x="695299" y="901243"/>
                </a:lnTo>
                <a:lnTo>
                  <a:pt x="691440" y="903058"/>
                </a:lnTo>
                <a:lnTo>
                  <a:pt x="688035" y="904646"/>
                </a:lnTo>
                <a:lnTo>
                  <a:pt x="684176" y="906234"/>
                </a:lnTo>
                <a:lnTo>
                  <a:pt x="680317" y="907595"/>
                </a:lnTo>
                <a:lnTo>
                  <a:pt x="676231" y="908730"/>
                </a:lnTo>
                <a:lnTo>
                  <a:pt x="672372" y="909637"/>
                </a:lnTo>
                <a:lnTo>
                  <a:pt x="668286" y="910318"/>
                </a:lnTo>
                <a:lnTo>
                  <a:pt x="664199" y="910771"/>
                </a:lnTo>
                <a:lnTo>
                  <a:pt x="659886" y="911225"/>
                </a:lnTo>
                <a:lnTo>
                  <a:pt x="655573" y="911225"/>
                </a:lnTo>
                <a:lnTo>
                  <a:pt x="651260" y="911225"/>
                </a:lnTo>
                <a:lnTo>
                  <a:pt x="646947" y="910771"/>
                </a:lnTo>
                <a:lnTo>
                  <a:pt x="643088" y="910318"/>
                </a:lnTo>
                <a:lnTo>
                  <a:pt x="638775" y="909637"/>
                </a:lnTo>
                <a:lnTo>
                  <a:pt x="634915" y="908730"/>
                </a:lnTo>
                <a:lnTo>
                  <a:pt x="630829" y="907595"/>
                </a:lnTo>
                <a:lnTo>
                  <a:pt x="627197" y="906234"/>
                </a:lnTo>
                <a:lnTo>
                  <a:pt x="623338" y="904646"/>
                </a:lnTo>
                <a:lnTo>
                  <a:pt x="619706" y="903058"/>
                </a:lnTo>
                <a:lnTo>
                  <a:pt x="616074" y="901243"/>
                </a:lnTo>
                <a:lnTo>
                  <a:pt x="612669" y="899428"/>
                </a:lnTo>
                <a:lnTo>
                  <a:pt x="609037" y="896933"/>
                </a:lnTo>
                <a:lnTo>
                  <a:pt x="605858" y="894891"/>
                </a:lnTo>
                <a:lnTo>
                  <a:pt x="602680" y="892395"/>
                </a:lnTo>
                <a:lnTo>
                  <a:pt x="599729" y="889673"/>
                </a:lnTo>
                <a:lnTo>
                  <a:pt x="596778" y="886950"/>
                </a:lnTo>
                <a:lnTo>
                  <a:pt x="594054" y="884228"/>
                </a:lnTo>
                <a:lnTo>
                  <a:pt x="591557" y="881052"/>
                </a:lnTo>
                <a:lnTo>
                  <a:pt x="588833" y="877876"/>
                </a:lnTo>
                <a:lnTo>
                  <a:pt x="586790" y="874699"/>
                </a:lnTo>
                <a:lnTo>
                  <a:pt x="584520" y="871296"/>
                </a:lnTo>
                <a:lnTo>
                  <a:pt x="582704" y="867666"/>
                </a:lnTo>
                <a:lnTo>
                  <a:pt x="580661" y="864263"/>
                </a:lnTo>
                <a:lnTo>
                  <a:pt x="579072" y="860407"/>
                </a:lnTo>
                <a:lnTo>
                  <a:pt x="577710" y="856777"/>
                </a:lnTo>
                <a:lnTo>
                  <a:pt x="576348" y="852920"/>
                </a:lnTo>
                <a:lnTo>
                  <a:pt x="575212" y="849063"/>
                </a:lnTo>
                <a:lnTo>
                  <a:pt x="574077" y="844980"/>
                </a:lnTo>
                <a:lnTo>
                  <a:pt x="573396" y="840896"/>
                </a:lnTo>
                <a:lnTo>
                  <a:pt x="572942" y="836812"/>
                </a:lnTo>
                <a:lnTo>
                  <a:pt x="572488" y="832729"/>
                </a:lnTo>
                <a:lnTo>
                  <a:pt x="572488" y="828191"/>
                </a:lnTo>
                <a:lnTo>
                  <a:pt x="572488" y="825242"/>
                </a:lnTo>
                <a:lnTo>
                  <a:pt x="572715" y="822066"/>
                </a:lnTo>
                <a:lnTo>
                  <a:pt x="573623" y="815940"/>
                </a:lnTo>
                <a:lnTo>
                  <a:pt x="574986" y="810042"/>
                </a:lnTo>
                <a:lnTo>
                  <a:pt x="576575" y="804370"/>
                </a:lnTo>
                <a:lnTo>
                  <a:pt x="454445" y="733134"/>
                </a:lnTo>
                <a:lnTo>
                  <a:pt x="449904" y="736083"/>
                </a:lnTo>
                <a:lnTo>
                  <a:pt x="444910" y="738352"/>
                </a:lnTo>
                <a:lnTo>
                  <a:pt x="439689" y="740166"/>
                </a:lnTo>
                <a:lnTo>
                  <a:pt x="434468" y="741981"/>
                </a:lnTo>
                <a:lnTo>
                  <a:pt x="429020" y="743569"/>
                </a:lnTo>
                <a:lnTo>
                  <a:pt x="423571" y="744477"/>
                </a:lnTo>
                <a:lnTo>
                  <a:pt x="417669" y="745158"/>
                </a:lnTo>
                <a:lnTo>
                  <a:pt x="412221" y="745384"/>
                </a:lnTo>
                <a:lnTo>
                  <a:pt x="408589" y="745158"/>
                </a:lnTo>
                <a:lnTo>
                  <a:pt x="405411" y="744931"/>
                </a:lnTo>
                <a:lnTo>
                  <a:pt x="398828" y="744023"/>
                </a:lnTo>
                <a:lnTo>
                  <a:pt x="305755" y="898294"/>
                </a:lnTo>
                <a:lnTo>
                  <a:pt x="257175" y="869255"/>
                </a:lnTo>
                <a:lnTo>
                  <a:pt x="349113" y="716118"/>
                </a:lnTo>
                <a:lnTo>
                  <a:pt x="347070" y="713396"/>
                </a:lnTo>
                <a:lnTo>
                  <a:pt x="344573" y="710220"/>
                </a:lnTo>
                <a:lnTo>
                  <a:pt x="342757" y="707497"/>
                </a:lnTo>
                <a:lnTo>
                  <a:pt x="340714" y="704321"/>
                </a:lnTo>
                <a:lnTo>
                  <a:pt x="339125" y="701145"/>
                </a:lnTo>
                <a:lnTo>
                  <a:pt x="337536" y="697969"/>
                </a:lnTo>
                <a:lnTo>
                  <a:pt x="335720" y="694793"/>
                </a:lnTo>
                <a:lnTo>
                  <a:pt x="334358" y="691390"/>
                </a:lnTo>
                <a:lnTo>
                  <a:pt x="333223" y="687987"/>
                </a:lnTo>
                <a:lnTo>
                  <a:pt x="332087" y="684584"/>
                </a:lnTo>
                <a:lnTo>
                  <a:pt x="331179" y="680954"/>
                </a:lnTo>
                <a:lnTo>
                  <a:pt x="330498" y="677324"/>
                </a:lnTo>
                <a:lnTo>
                  <a:pt x="329590" y="673467"/>
                </a:lnTo>
                <a:lnTo>
                  <a:pt x="329136" y="670064"/>
                </a:lnTo>
                <a:lnTo>
                  <a:pt x="328909" y="665981"/>
                </a:lnTo>
                <a:lnTo>
                  <a:pt x="328909" y="662351"/>
                </a:lnTo>
                <a:lnTo>
                  <a:pt x="328909" y="658040"/>
                </a:lnTo>
                <a:lnTo>
                  <a:pt x="329363" y="653730"/>
                </a:lnTo>
                <a:lnTo>
                  <a:pt x="330044" y="649646"/>
                </a:lnTo>
                <a:lnTo>
                  <a:pt x="330725" y="645335"/>
                </a:lnTo>
                <a:lnTo>
                  <a:pt x="331633" y="641479"/>
                </a:lnTo>
                <a:lnTo>
                  <a:pt x="332768" y="637395"/>
                </a:lnTo>
                <a:lnTo>
                  <a:pt x="333904" y="633765"/>
                </a:lnTo>
                <a:lnTo>
                  <a:pt x="335493" y="629908"/>
                </a:lnTo>
                <a:lnTo>
                  <a:pt x="337082" y="626279"/>
                </a:lnTo>
                <a:lnTo>
                  <a:pt x="339125" y="622649"/>
                </a:lnTo>
                <a:lnTo>
                  <a:pt x="340941" y="619246"/>
                </a:lnTo>
                <a:lnTo>
                  <a:pt x="342984" y="615843"/>
                </a:lnTo>
                <a:lnTo>
                  <a:pt x="345481" y="612666"/>
                </a:lnTo>
                <a:lnTo>
                  <a:pt x="347978" y="609263"/>
                </a:lnTo>
                <a:lnTo>
                  <a:pt x="350475" y="606314"/>
                </a:lnTo>
                <a:lnTo>
                  <a:pt x="353426" y="603592"/>
                </a:lnTo>
                <a:lnTo>
                  <a:pt x="356150" y="600642"/>
                </a:lnTo>
                <a:lnTo>
                  <a:pt x="359101" y="598147"/>
                </a:lnTo>
                <a:lnTo>
                  <a:pt x="362279" y="595878"/>
                </a:lnTo>
                <a:lnTo>
                  <a:pt x="365458" y="593383"/>
                </a:lnTo>
                <a:lnTo>
                  <a:pt x="369090" y="591341"/>
                </a:lnTo>
                <a:lnTo>
                  <a:pt x="372495" y="589299"/>
                </a:lnTo>
                <a:lnTo>
                  <a:pt x="376127" y="587484"/>
                </a:lnTo>
                <a:lnTo>
                  <a:pt x="379759" y="585669"/>
                </a:lnTo>
                <a:lnTo>
                  <a:pt x="383618" y="584308"/>
                </a:lnTo>
                <a:lnTo>
                  <a:pt x="387250" y="582947"/>
                </a:lnTo>
                <a:lnTo>
                  <a:pt x="391336" y="581812"/>
                </a:lnTo>
                <a:lnTo>
                  <a:pt x="395196" y="580905"/>
                </a:lnTo>
                <a:lnTo>
                  <a:pt x="399509" y="580224"/>
                </a:lnTo>
                <a:lnTo>
                  <a:pt x="403368" y="579544"/>
                </a:lnTo>
                <a:lnTo>
                  <a:pt x="407681" y="579317"/>
                </a:lnTo>
                <a:lnTo>
                  <a:pt x="412221" y="579090"/>
                </a:lnTo>
                <a:lnTo>
                  <a:pt x="416307" y="579317"/>
                </a:lnTo>
                <a:lnTo>
                  <a:pt x="420620" y="579544"/>
                </a:lnTo>
                <a:lnTo>
                  <a:pt x="424707" y="580224"/>
                </a:lnTo>
                <a:lnTo>
                  <a:pt x="428793" y="580905"/>
                </a:lnTo>
                <a:lnTo>
                  <a:pt x="432652" y="581812"/>
                </a:lnTo>
                <a:lnTo>
                  <a:pt x="436738" y="582947"/>
                </a:lnTo>
                <a:lnTo>
                  <a:pt x="440597" y="584308"/>
                </a:lnTo>
                <a:lnTo>
                  <a:pt x="444456" y="585669"/>
                </a:lnTo>
                <a:lnTo>
                  <a:pt x="447861" y="587484"/>
                </a:lnTo>
                <a:lnTo>
                  <a:pt x="451720" y="589299"/>
                </a:lnTo>
                <a:lnTo>
                  <a:pt x="454899" y="591341"/>
                </a:lnTo>
                <a:lnTo>
                  <a:pt x="458531" y="593383"/>
                </a:lnTo>
                <a:lnTo>
                  <a:pt x="461709" y="595878"/>
                </a:lnTo>
                <a:lnTo>
                  <a:pt x="464887" y="598147"/>
                </a:lnTo>
                <a:lnTo>
                  <a:pt x="467838" y="600642"/>
                </a:lnTo>
                <a:lnTo>
                  <a:pt x="470562" y="603592"/>
                </a:lnTo>
                <a:lnTo>
                  <a:pt x="473513" y="606314"/>
                </a:lnTo>
                <a:lnTo>
                  <a:pt x="476010" y="609263"/>
                </a:lnTo>
                <a:lnTo>
                  <a:pt x="478734" y="612666"/>
                </a:lnTo>
                <a:lnTo>
                  <a:pt x="481004" y="615843"/>
                </a:lnTo>
                <a:lnTo>
                  <a:pt x="483047" y="619246"/>
                </a:lnTo>
                <a:lnTo>
                  <a:pt x="484864" y="622649"/>
                </a:lnTo>
                <a:lnTo>
                  <a:pt x="486907" y="626279"/>
                </a:lnTo>
                <a:lnTo>
                  <a:pt x="488496" y="629908"/>
                </a:lnTo>
                <a:lnTo>
                  <a:pt x="490085" y="633765"/>
                </a:lnTo>
                <a:lnTo>
                  <a:pt x="491220" y="637395"/>
                </a:lnTo>
                <a:lnTo>
                  <a:pt x="492355" y="641479"/>
                </a:lnTo>
                <a:lnTo>
                  <a:pt x="493490" y="645335"/>
                </a:lnTo>
                <a:lnTo>
                  <a:pt x="494171" y="649646"/>
                </a:lnTo>
                <a:lnTo>
                  <a:pt x="494625" y="653730"/>
                </a:lnTo>
                <a:lnTo>
                  <a:pt x="495079" y="658040"/>
                </a:lnTo>
                <a:lnTo>
                  <a:pt x="495079" y="662351"/>
                </a:lnTo>
                <a:lnTo>
                  <a:pt x="495079" y="665527"/>
                </a:lnTo>
                <a:lnTo>
                  <a:pt x="494852" y="669157"/>
                </a:lnTo>
                <a:lnTo>
                  <a:pt x="494398" y="672333"/>
                </a:lnTo>
                <a:lnTo>
                  <a:pt x="493944" y="675509"/>
                </a:lnTo>
                <a:lnTo>
                  <a:pt x="492355" y="682088"/>
                </a:lnTo>
                <a:lnTo>
                  <a:pt x="490539" y="688214"/>
                </a:lnTo>
                <a:lnTo>
                  <a:pt x="610853" y="758543"/>
                </a:lnTo>
                <a:lnTo>
                  <a:pt x="616528" y="755140"/>
                </a:lnTo>
                <a:lnTo>
                  <a:pt x="622430" y="752417"/>
                </a:lnTo>
                <a:lnTo>
                  <a:pt x="628559" y="749922"/>
                </a:lnTo>
                <a:lnTo>
                  <a:pt x="634915" y="748107"/>
                </a:lnTo>
                <a:lnTo>
                  <a:pt x="690305" y="547101"/>
                </a:lnTo>
                <a:lnTo>
                  <a:pt x="686673" y="544152"/>
                </a:lnTo>
                <a:lnTo>
                  <a:pt x="682814" y="540976"/>
                </a:lnTo>
                <a:lnTo>
                  <a:pt x="679409" y="537800"/>
                </a:lnTo>
                <a:lnTo>
                  <a:pt x="676004" y="533943"/>
                </a:lnTo>
                <a:lnTo>
                  <a:pt x="673053" y="530540"/>
                </a:lnTo>
                <a:lnTo>
                  <a:pt x="670102" y="526456"/>
                </a:lnTo>
                <a:lnTo>
                  <a:pt x="667605" y="522373"/>
                </a:lnTo>
                <a:lnTo>
                  <a:pt x="665107" y="518062"/>
                </a:lnTo>
                <a:lnTo>
                  <a:pt x="662837" y="513979"/>
                </a:lnTo>
                <a:lnTo>
                  <a:pt x="661021" y="509214"/>
                </a:lnTo>
                <a:lnTo>
                  <a:pt x="659432" y="504450"/>
                </a:lnTo>
                <a:lnTo>
                  <a:pt x="658070" y="499913"/>
                </a:lnTo>
                <a:lnTo>
                  <a:pt x="657162" y="494922"/>
                </a:lnTo>
                <a:lnTo>
                  <a:pt x="656027" y="489931"/>
                </a:lnTo>
                <a:lnTo>
                  <a:pt x="655573" y="484940"/>
                </a:lnTo>
                <a:lnTo>
                  <a:pt x="655573" y="479722"/>
                </a:lnTo>
                <a:lnTo>
                  <a:pt x="655573" y="475411"/>
                </a:lnTo>
                <a:lnTo>
                  <a:pt x="655800" y="471327"/>
                </a:lnTo>
                <a:lnTo>
                  <a:pt x="656708" y="467017"/>
                </a:lnTo>
                <a:lnTo>
                  <a:pt x="657389" y="463160"/>
                </a:lnTo>
                <a:lnTo>
                  <a:pt x="658297" y="458850"/>
                </a:lnTo>
                <a:lnTo>
                  <a:pt x="659432" y="455220"/>
                </a:lnTo>
                <a:lnTo>
                  <a:pt x="660567" y="451136"/>
                </a:lnTo>
                <a:lnTo>
                  <a:pt x="661929" y="447506"/>
                </a:lnTo>
                <a:lnTo>
                  <a:pt x="663745" y="443649"/>
                </a:lnTo>
                <a:lnTo>
                  <a:pt x="665561" y="440246"/>
                </a:lnTo>
                <a:lnTo>
                  <a:pt x="667605" y="436617"/>
                </a:lnTo>
                <a:lnTo>
                  <a:pt x="669648" y="433440"/>
                </a:lnTo>
                <a:lnTo>
                  <a:pt x="672145" y="430037"/>
                </a:lnTo>
                <a:lnTo>
                  <a:pt x="674642" y="426861"/>
                </a:lnTo>
                <a:lnTo>
                  <a:pt x="677139" y="423912"/>
                </a:lnTo>
                <a:lnTo>
                  <a:pt x="679863" y="420963"/>
                </a:lnTo>
                <a:lnTo>
                  <a:pt x="682814" y="418240"/>
                </a:lnTo>
                <a:lnTo>
                  <a:pt x="685765" y="415518"/>
                </a:lnTo>
                <a:lnTo>
                  <a:pt x="688943" y="413249"/>
                </a:lnTo>
                <a:lnTo>
                  <a:pt x="692121" y="410980"/>
                </a:lnTo>
                <a:lnTo>
                  <a:pt x="695526" y="408712"/>
                </a:lnTo>
                <a:lnTo>
                  <a:pt x="698932" y="406670"/>
                </a:lnTo>
                <a:lnTo>
                  <a:pt x="702791" y="404855"/>
                </a:lnTo>
                <a:lnTo>
                  <a:pt x="706196" y="403267"/>
                </a:lnTo>
                <a:lnTo>
                  <a:pt x="710055" y="401679"/>
                </a:lnTo>
                <a:lnTo>
                  <a:pt x="713914" y="400318"/>
                </a:lnTo>
                <a:lnTo>
                  <a:pt x="718000" y="399410"/>
                </a:lnTo>
                <a:lnTo>
                  <a:pt x="721859" y="398503"/>
                </a:lnTo>
                <a:lnTo>
                  <a:pt x="725945" y="397595"/>
                </a:lnTo>
                <a:lnTo>
                  <a:pt x="730032" y="397141"/>
                </a:lnTo>
                <a:lnTo>
                  <a:pt x="734345" y="396915"/>
                </a:lnTo>
                <a:lnTo>
                  <a:pt x="738658" y="396688"/>
                </a:lnTo>
                <a:lnTo>
                  <a:pt x="744106" y="396915"/>
                </a:lnTo>
                <a:lnTo>
                  <a:pt x="749554" y="397595"/>
                </a:lnTo>
                <a:lnTo>
                  <a:pt x="754775" y="398276"/>
                </a:lnTo>
                <a:lnTo>
                  <a:pt x="759770" y="399637"/>
                </a:lnTo>
                <a:lnTo>
                  <a:pt x="764764" y="400998"/>
                </a:lnTo>
                <a:lnTo>
                  <a:pt x="769758" y="403040"/>
                </a:lnTo>
                <a:lnTo>
                  <a:pt x="774298" y="405082"/>
                </a:lnTo>
                <a:lnTo>
                  <a:pt x="778838" y="407577"/>
                </a:lnTo>
                <a:lnTo>
                  <a:pt x="916859" y="288925"/>
                </a:lnTo>
                <a:close/>
                <a:moveTo>
                  <a:pt x="607752" y="120128"/>
                </a:moveTo>
                <a:lnTo>
                  <a:pt x="595738" y="120581"/>
                </a:lnTo>
                <a:lnTo>
                  <a:pt x="583950" y="121488"/>
                </a:lnTo>
                <a:lnTo>
                  <a:pt x="571936" y="122621"/>
                </a:lnTo>
                <a:lnTo>
                  <a:pt x="559921" y="123755"/>
                </a:lnTo>
                <a:lnTo>
                  <a:pt x="548133" y="125341"/>
                </a:lnTo>
                <a:lnTo>
                  <a:pt x="536119" y="127154"/>
                </a:lnTo>
                <a:lnTo>
                  <a:pt x="524331" y="129421"/>
                </a:lnTo>
                <a:lnTo>
                  <a:pt x="512543" y="131688"/>
                </a:lnTo>
                <a:lnTo>
                  <a:pt x="500755" y="134407"/>
                </a:lnTo>
                <a:lnTo>
                  <a:pt x="489194" y="137581"/>
                </a:lnTo>
                <a:lnTo>
                  <a:pt x="477406" y="140754"/>
                </a:lnTo>
                <a:lnTo>
                  <a:pt x="466072" y="144380"/>
                </a:lnTo>
                <a:lnTo>
                  <a:pt x="454511" y="148234"/>
                </a:lnTo>
                <a:lnTo>
                  <a:pt x="443176" y="152313"/>
                </a:lnTo>
                <a:lnTo>
                  <a:pt x="431615" y="156620"/>
                </a:lnTo>
                <a:lnTo>
                  <a:pt x="420508" y="161380"/>
                </a:lnTo>
                <a:lnTo>
                  <a:pt x="409400" y="166593"/>
                </a:lnTo>
                <a:lnTo>
                  <a:pt x="398519" y="171579"/>
                </a:lnTo>
                <a:lnTo>
                  <a:pt x="387411" y="177246"/>
                </a:lnTo>
                <a:lnTo>
                  <a:pt x="376530" y="183139"/>
                </a:lnTo>
                <a:lnTo>
                  <a:pt x="365876" y="189485"/>
                </a:lnTo>
                <a:lnTo>
                  <a:pt x="355221" y="195831"/>
                </a:lnTo>
                <a:lnTo>
                  <a:pt x="344794" y="202631"/>
                </a:lnTo>
                <a:lnTo>
                  <a:pt x="334593" y="209431"/>
                </a:lnTo>
                <a:lnTo>
                  <a:pt x="324392" y="216684"/>
                </a:lnTo>
                <a:lnTo>
                  <a:pt x="314191" y="224163"/>
                </a:lnTo>
                <a:lnTo>
                  <a:pt x="304443" y="232323"/>
                </a:lnTo>
                <a:lnTo>
                  <a:pt x="294695" y="240483"/>
                </a:lnTo>
                <a:lnTo>
                  <a:pt x="284948" y="248869"/>
                </a:lnTo>
                <a:lnTo>
                  <a:pt x="275654" y="257482"/>
                </a:lnTo>
                <a:lnTo>
                  <a:pt x="266359" y="266548"/>
                </a:lnTo>
                <a:lnTo>
                  <a:pt x="257518" y="275614"/>
                </a:lnTo>
                <a:lnTo>
                  <a:pt x="248678" y="285134"/>
                </a:lnTo>
                <a:lnTo>
                  <a:pt x="240290" y="294654"/>
                </a:lnTo>
                <a:lnTo>
                  <a:pt x="232129" y="304400"/>
                </a:lnTo>
                <a:lnTo>
                  <a:pt x="224195" y="314373"/>
                </a:lnTo>
                <a:lnTo>
                  <a:pt x="216714" y="324346"/>
                </a:lnTo>
                <a:lnTo>
                  <a:pt x="209460" y="334545"/>
                </a:lnTo>
                <a:lnTo>
                  <a:pt x="202433" y="344971"/>
                </a:lnTo>
                <a:lnTo>
                  <a:pt x="195632" y="355397"/>
                </a:lnTo>
                <a:lnTo>
                  <a:pt x="189058" y="366050"/>
                </a:lnTo>
                <a:lnTo>
                  <a:pt x="183164" y="376703"/>
                </a:lnTo>
                <a:lnTo>
                  <a:pt x="177271" y="387583"/>
                </a:lnTo>
                <a:lnTo>
                  <a:pt x="171603" y="398462"/>
                </a:lnTo>
                <a:lnTo>
                  <a:pt x="166390" y="409342"/>
                </a:lnTo>
                <a:lnTo>
                  <a:pt x="161402" y="420448"/>
                </a:lnTo>
                <a:lnTo>
                  <a:pt x="156642" y="431554"/>
                </a:lnTo>
                <a:lnTo>
                  <a:pt x="152108" y="443114"/>
                </a:lnTo>
                <a:lnTo>
                  <a:pt x="148028" y="454673"/>
                </a:lnTo>
                <a:lnTo>
                  <a:pt x="144174" y="466006"/>
                </a:lnTo>
                <a:lnTo>
                  <a:pt x="140774" y="477565"/>
                </a:lnTo>
                <a:lnTo>
                  <a:pt x="137373" y="489125"/>
                </a:lnTo>
                <a:lnTo>
                  <a:pt x="134426" y="500911"/>
                </a:lnTo>
                <a:lnTo>
                  <a:pt x="131706" y="512470"/>
                </a:lnTo>
                <a:lnTo>
                  <a:pt x="129213" y="524256"/>
                </a:lnTo>
                <a:lnTo>
                  <a:pt x="127172" y="536269"/>
                </a:lnTo>
                <a:lnTo>
                  <a:pt x="125359" y="548055"/>
                </a:lnTo>
                <a:lnTo>
                  <a:pt x="123772" y="560068"/>
                </a:lnTo>
                <a:lnTo>
                  <a:pt x="122185" y="571854"/>
                </a:lnTo>
                <a:lnTo>
                  <a:pt x="121278" y="583867"/>
                </a:lnTo>
                <a:lnTo>
                  <a:pt x="120598" y="595880"/>
                </a:lnTo>
                <a:lnTo>
                  <a:pt x="120145" y="607666"/>
                </a:lnTo>
                <a:lnTo>
                  <a:pt x="120145" y="619905"/>
                </a:lnTo>
                <a:lnTo>
                  <a:pt x="120145" y="631918"/>
                </a:lnTo>
                <a:lnTo>
                  <a:pt x="120598" y="643704"/>
                </a:lnTo>
                <a:lnTo>
                  <a:pt x="121278" y="655717"/>
                </a:lnTo>
                <a:lnTo>
                  <a:pt x="122185" y="667503"/>
                </a:lnTo>
                <a:lnTo>
                  <a:pt x="123772" y="679516"/>
                </a:lnTo>
                <a:lnTo>
                  <a:pt x="125359" y="691529"/>
                </a:lnTo>
                <a:lnTo>
                  <a:pt x="127172" y="703315"/>
                </a:lnTo>
                <a:lnTo>
                  <a:pt x="129213" y="715328"/>
                </a:lnTo>
                <a:lnTo>
                  <a:pt x="131706" y="726887"/>
                </a:lnTo>
                <a:lnTo>
                  <a:pt x="134426" y="738673"/>
                </a:lnTo>
                <a:lnTo>
                  <a:pt x="137373" y="750460"/>
                </a:lnTo>
                <a:lnTo>
                  <a:pt x="140774" y="762019"/>
                </a:lnTo>
                <a:lnTo>
                  <a:pt x="144174" y="773579"/>
                </a:lnTo>
                <a:lnTo>
                  <a:pt x="148028" y="784911"/>
                </a:lnTo>
                <a:lnTo>
                  <a:pt x="152108" y="796471"/>
                </a:lnTo>
                <a:lnTo>
                  <a:pt x="156642" y="807804"/>
                </a:lnTo>
                <a:lnTo>
                  <a:pt x="161402" y="819136"/>
                </a:lnTo>
                <a:lnTo>
                  <a:pt x="166390" y="830016"/>
                </a:lnTo>
                <a:lnTo>
                  <a:pt x="171603" y="841122"/>
                </a:lnTo>
                <a:lnTo>
                  <a:pt x="177271" y="852002"/>
                </a:lnTo>
                <a:lnTo>
                  <a:pt x="183164" y="862881"/>
                </a:lnTo>
                <a:lnTo>
                  <a:pt x="189058" y="873534"/>
                </a:lnTo>
                <a:lnTo>
                  <a:pt x="195632" y="884187"/>
                </a:lnTo>
                <a:lnTo>
                  <a:pt x="202433" y="894613"/>
                </a:lnTo>
                <a:lnTo>
                  <a:pt x="209460" y="904813"/>
                </a:lnTo>
                <a:lnTo>
                  <a:pt x="216714" y="915239"/>
                </a:lnTo>
                <a:lnTo>
                  <a:pt x="224195" y="925212"/>
                </a:lnTo>
                <a:lnTo>
                  <a:pt x="232129" y="934958"/>
                </a:lnTo>
                <a:lnTo>
                  <a:pt x="240290" y="944931"/>
                </a:lnTo>
                <a:lnTo>
                  <a:pt x="248678" y="954450"/>
                </a:lnTo>
                <a:lnTo>
                  <a:pt x="257518" y="963743"/>
                </a:lnTo>
                <a:lnTo>
                  <a:pt x="266359" y="973036"/>
                </a:lnTo>
                <a:lnTo>
                  <a:pt x="275654" y="982102"/>
                </a:lnTo>
                <a:lnTo>
                  <a:pt x="284948" y="990715"/>
                </a:lnTo>
                <a:lnTo>
                  <a:pt x="294695" y="999102"/>
                </a:lnTo>
                <a:lnTo>
                  <a:pt x="304443" y="1007261"/>
                </a:lnTo>
                <a:lnTo>
                  <a:pt x="314191" y="1015194"/>
                </a:lnTo>
                <a:lnTo>
                  <a:pt x="324392" y="1022674"/>
                </a:lnTo>
                <a:lnTo>
                  <a:pt x="334593" y="1029927"/>
                </a:lnTo>
                <a:lnTo>
                  <a:pt x="344794" y="1036953"/>
                </a:lnTo>
                <a:lnTo>
                  <a:pt x="355221" y="1043753"/>
                </a:lnTo>
                <a:lnTo>
                  <a:pt x="365876" y="1050099"/>
                </a:lnTo>
                <a:lnTo>
                  <a:pt x="376530" y="1056446"/>
                </a:lnTo>
                <a:lnTo>
                  <a:pt x="387411" y="1062339"/>
                </a:lnTo>
                <a:lnTo>
                  <a:pt x="398292" y="1067779"/>
                </a:lnTo>
                <a:lnTo>
                  <a:pt x="409400" y="1072992"/>
                </a:lnTo>
                <a:lnTo>
                  <a:pt x="420508" y="1078205"/>
                </a:lnTo>
                <a:lnTo>
                  <a:pt x="431615" y="1082738"/>
                </a:lnTo>
                <a:lnTo>
                  <a:pt x="443176" y="1087271"/>
                </a:lnTo>
                <a:lnTo>
                  <a:pt x="454511" y="1091351"/>
                </a:lnTo>
                <a:lnTo>
                  <a:pt x="466072" y="1095204"/>
                </a:lnTo>
                <a:lnTo>
                  <a:pt x="477406" y="1098830"/>
                </a:lnTo>
                <a:lnTo>
                  <a:pt x="489194" y="1102004"/>
                </a:lnTo>
                <a:lnTo>
                  <a:pt x="500755" y="1104950"/>
                </a:lnTo>
                <a:lnTo>
                  <a:pt x="512543" y="1107897"/>
                </a:lnTo>
                <a:lnTo>
                  <a:pt x="524331" y="1110163"/>
                </a:lnTo>
                <a:lnTo>
                  <a:pt x="536119" y="1112203"/>
                </a:lnTo>
                <a:lnTo>
                  <a:pt x="548133" y="1114243"/>
                </a:lnTo>
                <a:lnTo>
                  <a:pt x="559921" y="1115830"/>
                </a:lnTo>
                <a:lnTo>
                  <a:pt x="571936" y="1116963"/>
                </a:lnTo>
                <a:lnTo>
                  <a:pt x="583950" y="1118096"/>
                </a:lnTo>
                <a:lnTo>
                  <a:pt x="595738" y="1118776"/>
                </a:lnTo>
                <a:lnTo>
                  <a:pt x="607752" y="1119230"/>
                </a:lnTo>
                <a:lnTo>
                  <a:pt x="619540" y="1119230"/>
                </a:lnTo>
                <a:lnTo>
                  <a:pt x="631782" y="1119230"/>
                </a:lnTo>
                <a:lnTo>
                  <a:pt x="643796" y="1118776"/>
                </a:lnTo>
                <a:lnTo>
                  <a:pt x="655584" y="1118096"/>
                </a:lnTo>
                <a:lnTo>
                  <a:pt x="667598" y="1116963"/>
                </a:lnTo>
                <a:lnTo>
                  <a:pt x="679613" y="1115830"/>
                </a:lnTo>
                <a:lnTo>
                  <a:pt x="691401" y="1114243"/>
                </a:lnTo>
                <a:lnTo>
                  <a:pt x="703415" y="1112203"/>
                </a:lnTo>
                <a:lnTo>
                  <a:pt x="715203" y="1110163"/>
                </a:lnTo>
                <a:lnTo>
                  <a:pt x="726991" y="1107897"/>
                </a:lnTo>
                <a:lnTo>
                  <a:pt x="738779" y="1104950"/>
                </a:lnTo>
                <a:lnTo>
                  <a:pt x="750340" y="1102004"/>
                </a:lnTo>
                <a:lnTo>
                  <a:pt x="762128" y="1098830"/>
                </a:lnTo>
                <a:lnTo>
                  <a:pt x="773462" y="1095204"/>
                </a:lnTo>
                <a:lnTo>
                  <a:pt x="785023" y="1091351"/>
                </a:lnTo>
                <a:lnTo>
                  <a:pt x="796358" y="1087271"/>
                </a:lnTo>
                <a:lnTo>
                  <a:pt x="807692" y="1082738"/>
                </a:lnTo>
                <a:lnTo>
                  <a:pt x="819026" y="1078205"/>
                </a:lnTo>
                <a:lnTo>
                  <a:pt x="830134" y="1072992"/>
                </a:lnTo>
                <a:lnTo>
                  <a:pt x="841015" y="1067779"/>
                </a:lnTo>
                <a:lnTo>
                  <a:pt x="852123" y="1062339"/>
                </a:lnTo>
                <a:lnTo>
                  <a:pt x="862777" y="1056446"/>
                </a:lnTo>
                <a:lnTo>
                  <a:pt x="873658" y="1050099"/>
                </a:lnTo>
                <a:lnTo>
                  <a:pt x="884086" y="1043753"/>
                </a:lnTo>
                <a:lnTo>
                  <a:pt x="894740" y="1036953"/>
                </a:lnTo>
                <a:lnTo>
                  <a:pt x="904941" y="1029927"/>
                </a:lnTo>
                <a:lnTo>
                  <a:pt x="915142" y="1022674"/>
                </a:lnTo>
                <a:lnTo>
                  <a:pt x="925343" y="1015194"/>
                </a:lnTo>
                <a:lnTo>
                  <a:pt x="935091" y="1007261"/>
                </a:lnTo>
                <a:lnTo>
                  <a:pt x="944839" y="999102"/>
                </a:lnTo>
                <a:lnTo>
                  <a:pt x="954586" y="990715"/>
                </a:lnTo>
                <a:lnTo>
                  <a:pt x="963880" y="982102"/>
                </a:lnTo>
                <a:lnTo>
                  <a:pt x="972948" y="973036"/>
                </a:lnTo>
                <a:lnTo>
                  <a:pt x="982016" y="963743"/>
                </a:lnTo>
                <a:lnTo>
                  <a:pt x="990856" y="954450"/>
                </a:lnTo>
                <a:lnTo>
                  <a:pt x="999244" y="944931"/>
                </a:lnTo>
                <a:lnTo>
                  <a:pt x="1007405" y="934958"/>
                </a:lnTo>
                <a:lnTo>
                  <a:pt x="1015339" y="925212"/>
                </a:lnTo>
                <a:lnTo>
                  <a:pt x="1022820" y="915239"/>
                </a:lnTo>
                <a:lnTo>
                  <a:pt x="1030074" y="904813"/>
                </a:lnTo>
                <a:lnTo>
                  <a:pt x="1037101" y="894613"/>
                </a:lnTo>
                <a:lnTo>
                  <a:pt x="1043902" y="884187"/>
                </a:lnTo>
                <a:lnTo>
                  <a:pt x="1050249" y="873534"/>
                </a:lnTo>
                <a:lnTo>
                  <a:pt x="1056370" y="862881"/>
                </a:lnTo>
                <a:lnTo>
                  <a:pt x="1062263" y="852002"/>
                </a:lnTo>
                <a:lnTo>
                  <a:pt x="1067931" y="841122"/>
                </a:lnTo>
                <a:lnTo>
                  <a:pt x="1073144" y="830016"/>
                </a:lnTo>
                <a:lnTo>
                  <a:pt x="1078132" y="819136"/>
                </a:lnTo>
                <a:lnTo>
                  <a:pt x="1082892" y="807804"/>
                </a:lnTo>
                <a:lnTo>
                  <a:pt x="1087426" y="796471"/>
                </a:lnTo>
                <a:lnTo>
                  <a:pt x="1091280" y="784911"/>
                </a:lnTo>
                <a:lnTo>
                  <a:pt x="1095360" y="773579"/>
                </a:lnTo>
                <a:lnTo>
                  <a:pt x="1098760" y="762019"/>
                </a:lnTo>
                <a:lnTo>
                  <a:pt x="1102161" y="750460"/>
                </a:lnTo>
                <a:lnTo>
                  <a:pt x="1105108" y="738673"/>
                </a:lnTo>
                <a:lnTo>
                  <a:pt x="1107828" y="726887"/>
                </a:lnTo>
                <a:lnTo>
                  <a:pt x="1110321" y="715328"/>
                </a:lnTo>
                <a:lnTo>
                  <a:pt x="1112362" y="703315"/>
                </a:lnTo>
                <a:lnTo>
                  <a:pt x="1114175" y="691529"/>
                </a:lnTo>
                <a:lnTo>
                  <a:pt x="1115762" y="679516"/>
                </a:lnTo>
                <a:lnTo>
                  <a:pt x="1117122" y="667503"/>
                </a:lnTo>
                <a:lnTo>
                  <a:pt x="1118256" y="655717"/>
                </a:lnTo>
                <a:lnTo>
                  <a:pt x="1118936" y="643704"/>
                </a:lnTo>
                <a:lnTo>
                  <a:pt x="1119389" y="631918"/>
                </a:lnTo>
                <a:lnTo>
                  <a:pt x="1119389" y="619905"/>
                </a:lnTo>
                <a:lnTo>
                  <a:pt x="1119389" y="607666"/>
                </a:lnTo>
                <a:lnTo>
                  <a:pt x="1118936" y="595880"/>
                </a:lnTo>
                <a:lnTo>
                  <a:pt x="1118256" y="583867"/>
                </a:lnTo>
                <a:lnTo>
                  <a:pt x="1117122" y="571854"/>
                </a:lnTo>
                <a:lnTo>
                  <a:pt x="1115762" y="560068"/>
                </a:lnTo>
                <a:lnTo>
                  <a:pt x="1114175" y="548055"/>
                </a:lnTo>
                <a:lnTo>
                  <a:pt x="1112362" y="536269"/>
                </a:lnTo>
                <a:lnTo>
                  <a:pt x="1110321" y="524256"/>
                </a:lnTo>
                <a:lnTo>
                  <a:pt x="1107828" y="512470"/>
                </a:lnTo>
                <a:lnTo>
                  <a:pt x="1105108" y="500911"/>
                </a:lnTo>
                <a:lnTo>
                  <a:pt x="1102161" y="489125"/>
                </a:lnTo>
                <a:lnTo>
                  <a:pt x="1098760" y="477565"/>
                </a:lnTo>
                <a:lnTo>
                  <a:pt x="1095360" y="466006"/>
                </a:lnTo>
                <a:lnTo>
                  <a:pt x="1091280" y="454673"/>
                </a:lnTo>
                <a:lnTo>
                  <a:pt x="1087426" y="443114"/>
                </a:lnTo>
                <a:lnTo>
                  <a:pt x="1082892" y="431554"/>
                </a:lnTo>
                <a:lnTo>
                  <a:pt x="1078132" y="420448"/>
                </a:lnTo>
                <a:lnTo>
                  <a:pt x="1073144" y="409342"/>
                </a:lnTo>
                <a:lnTo>
                  <a:pt x="1067931" y="398462"/>
                </a:lnTo>
                <a:lnTo>
                  <a:pt x="1062263" y="387583"/>
                </a:lnTo>
                <a:lnTo>
                  <a:pt x="1056370" y="376703"/>
                </a:lnTo>
                <a:lnTo>
                  <a:pt x="1050249" y="366050"/>
                </a:lnTo>
                <a:lnTo>
                  <a:pt x="1043902" y="355397"/>
                </a:lnTo>
                <a:lnTo>
                  <a:pt x="1037101" y="344971"/>
                </a:lnTo>
                <a:lnTo>
                  <a:pt x="1030074" y="334545"/>
                </a:lnTo>
                <a:lnTo>
                  <a:pt x="1022820" y="324346"/>
                </a:lnTo>
                <a:lnTo>
                  <a:pt x="1015339" y="314373"/>
                </a:lnTo>
                <a:lnTo>
                  <a:pt x="1007405" y="304400"/>
                </a:lnTo>
                <a:lnTo>
                  <a:pt x="999244" y="294654"/>
                </a:lnTo>
                <a:lnTo>
                  <a:pt x="990856" y="285134"/>
                </a:lnTo>
                <a:lnTo>
                  <a:pt x="982016" y="275614"/>
                </a:lnTo>
                <a:lnTo>
                  <a:pt x="972948" y="266548"/>
                </a:lnTo>
                <a:lnTo>
                  <a:pt x="963880" y="257482"/>
                </a:lnTo>
                <a:lnTo>
                  <a:pt x="954586" y="248869"/>
                </a:lnTo>
                <a:lnTo>
                  <a:pt x="944839" y="240483"/>
                </a:lnTo>
                <a:lnTo>
                  <a:pt x="935091" y="232323"/>
                </a:lnTo>
                <a:lnTo>
                  <a:pt x="925343" y="224163"/>
                </a:lnTo>
                <a:lnTo>
                  <a:pt x="915142" y="216684"/>
                </a:lnTo>
                <a:lnTo>
                  <a:pt x="904941" y="209431"/>
                </a:lnTo>
                <a:lnTo>
                  <a:pt x="894740" y="202631"/>
                </a:lnTo>
                <a:lnTo>
                  <a:pt x="884086" y="195831"/>
                </a:lnTo>
                <a:lnTo>
                  <a:pt x="873658" y="189485"/>
                </a:lnTo>
                <a:lnTo>
                  <a:pt x="862777" y="183139"/>
                </a:lnTo>
                <a:lnTo>
                  <a:pt x="852123" y="177246"/>
                </a:lnTo>
                <a:lnTo>
                  <a:pt x="841015" y="171579"/>
                </a:lnTo>
                <a:lnTo>
                  <a:pt x="830134" y="166593"/>
                </a:lnTo>
                <a:lnTo>
                  <a:pt x="819026" y="161380"/>
                </a:lnTo>
                <a:lnTo>
                  <a:pt x="807692" y="156620"/>
                </a:lnTo>
                <a:lnTo>
                  <a:pt x="796358" y="152313"/>
                </a:lnTo>
                <a:lnTo>
                  <a:pt x="785023" y="148234"/>
                </a:lnTo>
                <a:lnTo>
                  <a:pt x="773462" y="144380"/>
                </a:lnTo>
                <a:lnTo>
                  <a:pt x="762128" y="140754"/>
                </a:lnTo>
                <a:lnTo>
                  <a:pt x="750340" y="137581"/>
                </a:lnTo>
                <a:lnTo>
                  <a:pt x="738779" y="134407"/>
                </a:lnTo>
                <a:lnTo>
                  <a:pt x="726991" y="131688"/>
                </a:lnTo>
                <a:lnTo>
                  <a:pt x="715203" y="129421"/>
                </a:lnTo>
                <a:lnTo>
                  <a:pt x="703415" y="127154"/>
                </a:lnTo>
                <a:lnTo>
                  <a:pt x="691401" y="125341"/>
                </a:lnTo>
                <a:lnTo>
                  <a:pt x="679613" y="123755"/>
                </a:lnTo>
                <a:lnTo>
                  <a:pt x="667598" y="122621"/>
                </a:lnTo>
                <a:lnTo>
                  <a:pt x="655584" y="121488"/>
                </a:lnTo>
                <a:lnTo>
                  <a:pt x="643796" y="120581"/>
                </a:lnTo>
                <a:lnTo>
                  <a:pt x="631782" y="120128"/>
                </a:lnTo>
                <a:lnTo>
                  <a:pt x="619540" y="120128"/>
                </a:lnTo>
                <a:lnTo>
                  <a:pt x="607752" y="120128"/>
                </a:lnTo>
                <a:close/>
                <a:moveTo>
                  <a:pt x="619540" y="0"/>
                </a:moveTo>
                <a:lnTo>
                  <a:pt x="634502" y="227"/>
                </a:lnTo>
                <a:lnTo>
                  <a:pt x="649690" y="907"/>
                </a:lnTo>
                <a:lnTo>
                  <a:pt x="664198" y="1587"/>
                </a:lnTo>
                <a:lnTo>
                  <a:pt x="678933" y="3173"/>
                </a:lnTo>
                <a:lnTo>
                  <a:pt x="694121" y="4533"/>
                </a:lnTo>
                <a:lnTo>
                  <a:pt x="708629" y="6573"/>
                </a:lnTo>
                <a:lnTo>
                  <a:pt x="723364" y="8840"/>
                </a:lnTo>
                <a:lnTo>
                  <a:pt x="738098" y="11560"/>
                </a:lnTo>
                <a:lnTo>
                  <a:pt x="752607" y="14506"/>
                </a:lnTo>
                <a:lnTo>
                  <a:pt x="767115" y="17906"/>
                </a:lnTo>
                <a:lnTo>
                  <a:pt x="781623" y="21533"/>
                </a:lnTo>
                <a:lnTo>
                  <a:pt x="796131" y="25839"/>
                </a:lnTo>
                <a:lnTo>
                  <a:pt x="810412" y="30146"/>
                </a:lnTo>
                <a:lnTo>
                  <a:pt x="824694" y="34905"/>
                </a:lnTo>
                <a:lnTo>
                  <a:pt x="838975" y="40118"/>
                </a:lnTo>
                <a:lnTo>
                  <a:pt x="853030" y="45558"/>
                </a:lnTo>
                <a:lnTo>
                  <a:pt x="866858" y="51451"/>
                </a:lnTo>
                <a:lnTo>
                  <a:pt x="880686" y="57571"/>
                </a:lnTo>
                <a:lnTo>
                  <a:pt x="894514" y="64144"/>
                </a:lnTo>
                <a:lnTo>
                  <a:pt x="907888" y="71170"/>
                </a:lnTo>
                <a:lnTo>
                  <a:pt x="921263" y="78423"/>
                </a:lnTo>
                <a:lnTo>
                  <a:pt x="934638" y="85903"/>
                </a:lnTo>
                <a:lnTo>
                  <a:pt x="947786" y="93836"/>
                </a:lnTo>
                <a:lnTo>
                  <a:pt x="960934" y="102222"/>
                </a:lnTo>
                <a:lnTo>
                  <a:pt x="973401" y="110835"/>
                </a:lnTo>
                <a:lnTo>
                  <a:pt x="986096" y="119901"/>
                </a:lnTo>
                <a:lnTo>
                  <a:pt x="998791" y="129421"/>
                </a:lnTo>
                <a:lnTo>
                  <a:pt x="1010805" y="139167"/>
                </a:lnTo>
                <a:lnTo>
                  <a:pt x="1023046" y="149140"/>
                </a:lnTo>
                <a:lnTo>
                  <a:pt x="1034607" y="159793"/>
                </a:lnTo>
                <a:lnTo>
                  <a:pt x="1046395" y="170446"/>
                </a:lnTo>
                <a:lnTo>
                  <a:pt x="1057956" y="181779"/>
                </a:lnTo>
                <a:lnTo>
                  <a:pt x="1067251" y="191072"/>
                </a:lnTo>
                <a:lnTo>
                  <a:pt x="1076318" y="200591"/>
                </a:lnTo>
                <a:lnTo>
                  <a:pt x="1084932" y="210564"/>
                </a:lnTo>
                <a:lnTo>
                  <a:pt x="1093546" y="220310"/>
                </a:lnTo>
                <a:lnTo>
                  <a:pt x="1101934" y="230283"/>
                </a:lnTo>
                <a:lnTo>
                  <a:pt x="1110095" y="240709"/>
                </a:lnTo>
                <a:lnTo>
                  <a:pt x="1117802" y="250909"/>
                </a:lnTo>
                <a:lnTo>
                  <a:pt x="1125510" y="261108"/>
                </a:lnTo>
                <a:lnTo>
                  <a:pt x="1132764" y="271988"/>
                </a:lnTo>
                <a:lnTo>
                  <a:pt x="1139791" y="282414"/>
                </a:lnTo>
                <a:lnTo>
                  <a:pt x="1146592" y="293294"/>
                </a:lnTo>
                <a:lnTo>
                  <a:pt x="1153166" y="304173"/>
                </a:lnTo>
                <a:lnTo>
                  <a:pt x="1159513" y="315279"/>
                </a:lnTo>
                <a:lnTo>
                  <a:pt x="1165634" y="326159"/>
                </a:lnTo>
                <a:lnTo>
                  <a:pt x="1171527" y="337492"/>
                </a:lnTo>
                <a:lnTo>
                  <a:pt x="1177195" y="348598"/>
                </a:lnTo>
                <a:lnTo>
                  <a:pt x="1182408" y="360157"/>
                </a:lnTo>
                <a:lnTo>
                  <a:pt x="1187622" y="371490"/>
                </a:lnTo>
                <a:lnTo>
                  <a:pt x="1192610" y="383050"/>
                </a:lnTo>
                <a:lnTo>
                  <a:pt x="1197143" y="394609"/>
                </a:lnTo>
                <a:lnTo>
                  <a:pt x="1201677" y="406395"/>
                </a:lnTo>
                <a:lnTo>
                  <a:pt x="1205984" y="418181"/>
                </a:lnTo>
                <a:lnTo>
                  <a:pt x="1209611" y="429741"/>
                </a:lnTo>
                <a:lnTo>
                  <a:pt x="1213465" y="441754"/>
                </a:lnTo>
                <a:lnTo>
                  <a:pt x="1216865" y="453540"/>
                </a:lnTo>
                <a:lnTo>
                  <a:pt x="1219812" y="465552"/>
                </a:lnTo>
                <a:lnTo>
                  <a:pt x="1222986" y="477792"/>
                </a:lnTo>
                <a:lnTo>
                  <a:pt x="1225706" y="489578"/>
                </a:lnTo>
                <a:lnTo>
                  <a:pt x="1228200" y="501818"/>
                </a:lnTo>
                <a:lnTo>
                  <a:pt x="1230240" y="514057"/>
                </a:lnTo>
                <a:lnTo>
                  <a:pt x="1232280" y="526070"/>
                </a:lnTo>
                <a:lnTo>
                  <a:pt x="1233867" y="538536"/>
                </a:lnTo>
                <a:lnTo>
                  <a:pt x="1235680" y="550775"/>
                </a:lnTo>
                <a:lnTo>
                  <a:pt x="1236814" y="563015"/>
                </a:lnTo>
                <a:lnTo>
                  <a:pt x="1237720" y="575254"/>
                </a:lnTo>
                <a:lnTo>
                  <a:pt x="1238401" y="587720"/>
                </a:lnTo>
                <a:lnTo>
                  <a:pt x="1239081" y="599733"/>
                </a:lnTo>
                <a:lnTo>
                  <a:pt x="1239307" y="612199"/>
                </a:lnTo>
                <a:lnTo>
                  <a:pt x="1239307" y="624665"/>
                </a:lnTo>
                <a:lnTo>
                  <a:pt x="1239081" y="636678"/>
                </a:lnTo>
                <a:lnTo>
                  <a:pt x="1238627" y="649144"/>
                </a:lnTo>
                <a:lnTo>
                  <a:pt x="1237947" y="661610"/>
                </a:lnTo>
                <a:lnTo>
                  <a:pt x="1237040" y="673623"/>
                </a:lnTo>
                <a:lnTo>
                  <a:pt x="1235907" y="686089"/>
                </a:lnTo>
                <a:lnTo>
                  <a:pt x="1234320" y="698102"/>
                </a:lnTo>
                <a:lnTo>
                  <a:pt x="1232507" y="710341"/>
                </a:lnTo>
                <a:lnTo>
                  <a:pt x="1230693" y="722807"/>
                </a:lnTo>
                <a:lnTo>
                  <a:pt x="1228653" y="734820"/>
                </a:lnTo>
                <a:lnTo>
                  <a:pt x="1226159" y="746833"/>
                </a:lnTo>
                <a:lnTo>
                  <a:pt x="1223439" y="759073"/>
                </a:lnTo>
                <a:lnTo>
                  <a:pt x="1220719" y="771085"/>
                </a:lnTo>
                <a:lnTo>
                  <a:pt x="1217545" y="783098"/>
                </a:lnTo>
                <a:lnTo>
                  <a:pt x="1214145" y="795111"/>
                </a:lnTo>
                <a:lnTo>
                  <a:pt x="1210518" y="806897"/>
                </a:lnTo>
                <a:lnTo>
                  <a:pt x="1206664" y="818683"/>
                </a:lnTo>
                <a:lnTo>
                  <a:pt x="1202357" y="830469"/>
                </a:lnTo>
                <a:lnTo>
                  <a:pt x="1198277" y="842255"/>
                </a:lnTo>
                <a:lnTo>
                  <a:pt x="1193516" y="853588"/>
                </a:lnTo>
                <a:lnTo>
                  <a:pt x="1188529" y="865374"/>
                </a:lnTo>
                <a:lnTo>
                  <a:pt x="1183769" y="876934"/>
                </a:lnTo>
                <a:lnTo>
                  <a:pt x="1178328" y="888267"/>
                </a:lnTo>
                <a:lnTo>
                  <a:pt x="1172661" y="899599"/>
                </a:lnTo>
                <a:lnTo>
                  <a:pt x="1166767" y="910706"/>
                </a:lnTo>
                <a:lnTo>
                  <a:pt x="1160646" y="921812"/>
                </a:lnTo>
                <a:lnTo>
                  <a:pt x="1534229" y="1295115"/>
                </a:lnTo>
                <a:lnTo>
                  <a:pt x="1540350" y="1301461"/>
                </a:lnTo>
                <a:lnTo>
                  <a:pt x="1545790" y="1308034"/>
                </a:lnTo>
                <a:lnTo>
                  <a:pt x="1551231" y="1314607"/>
                </a:lnTo>
                <a:lnTo>
                  <a:pt x="1556445" y="1321407"/>
                </a:lnTo>
                <a:lnTo>
                  <a:pt x="1560752" y="1328433"/>
                </a:lnTo>
                <a:lnTo>
                  <a:pt x="1565286" y="1335460"/>
                </a:lnTo>
                <a:lnTo>
                  <a:pt x="1569366" y="1342713"/>
                </a:lnTo>
                <a:lnTo>
                  <a:pt x="1572766" y="1349966"/>
                </a:lnTo>
                <a:lnTo>
                  <a:pt x="1576167" y="1357219"/>
                </a:lnTo>
                <a:lnTo>
                  <a:pt x="1578887" y="1364698"/>
                </a:lnTo>
                <a:lnTo>
                  <a:pt x="1581381" y="1372178"/>
                </a:lnTo>
                <a:lnTo>
                  <a:pt x="1583648" y="1379658"/>
                </a:lnTo>
                <a:lnTo>
                  <a:pt x="1585461" y="1387137"/>
                </a:lnTo>
                <a:lnTo>
                  <a:pt x="1586821" y="1394617"/>
                </a:lnTo>
                <a:lnTo>
                  <a:pt x="1587955" y="1402323"/>
                </a:lnTo>
                <a:lnTo>
                  <a:pt x="1588635" y="1409803"/>
                </a:lnTo>
                <a:lnTo>
                  <a:pt x="1589088" y="1417283"/>
                </a:lnTo>
                <a:lnTo>
                  <a:pt x="1589088" y="1424762"/>
                </a:lnTo>
                <a:lnTo>
                  <a:pt x="1588861" y="1432242"/>
                </a:lnTo>
                <a:lnTo>
                  <a:pt x="1588181" y="1439495"/>
                </a:lnTo>
                <a:lnTo>
                  <a:pt x="1587274" y="1446748"/>
                </a:lnTo>
                <a:lnTo>
                  <a:pt x="1585914" y="1454001"/>
                </a:lnTo>
                <a:lnTo>
                  <a:pt x="1584101" y="1461027"/>
                </a:lnTo>
                <a:lnTo>
                  <a:pt x="1581834" y="1467827"/>
                </a:lnTo>
                <a:lnTo>
                  <a:pt x="1579340" y="1474627"/>
                </a:lnTo>
                <a:lnTo>
                  <a:pt x="1576620" y="1481200"/>
                </a:lnTo>
                <a:lnTo>
                  <a:pt x="1573220" y="1487773"/>
                </a:lnTo>
                <a:lnTo>
                  <a:pt x="1569593" y="1494119"/>
                </a:lnTo>
                <a:lnTo>
                  <a:pt x="1565512" y="1500239"/>
                </a:lnTo>
                <a:lnTo>
                  <a:pt x="1561432" y="1506132"/>
                </a:lnTo>
                <a:lnTo>
                  <a:pt x="1556445" y="1511572"/>
                </a:lnTo>
                <a:lnTo>
                  <a:pt x="1551231" y="1517011"/>
                </a:lnTo>
                <a:lnTo>
                  <a:pt x="1517228" y="1551237"/>
                </a:lnTo>
                <a:lnTo>
                  <a:pt x="1511787" y="1556223"/>
                </a:lnTo>
                <a:lnTo>
                  <a:pt x="1506120" y="1561209"/>
                </a:lnTo>
                <a:lnTo>
                  <a:pt x="1500226" y="1565516"/>
                </a:lnTo>
                <a:lnTo>
                  <a:pt x="1494106" y="1569369"/>
                </a:lnTo>
                <a:lnTo>
                  <a:pt x="1487985" y="1573222"/>
                </a:lnTo>
                <a:lnTo>
                  <a:pt x="1481411" y="1576395"/>
                </a:lnTo>
                <a:lnTo>
                  <a:pt x="1474837" y="1579342"/>
                </a:lnTo>
                <a:lnTo>
                  <a:pt x="1468036" y="1581835"/>
                </a:lnTo>
                <a:lnTo>
                  <a:pt x="1461009" y="1583875"/>
                </a:lnTo>
                <a:lnTo>
                  <a:pt x="1453982" y="1585688"/>
                </a:lnTo>
                <a:lnTo>
                  <a:pt x="1446728" y="1587275"/>
                </a:lnTo>
                <a:lnTo>
                  <a:pt x="1439474" y="1588182"/>
                </a:lnTo>
                <a:lnTo>
                  <a:pt x="1432219" y="1588862"/>
                </a:lnTo>
                <a:lnTo>
                  <a:pt x="1424739" y="1589088"/>
                </a:lnTo>
                <a:lnTo>
                  <a:pt x="1417258" y="1589088"/>
                </a:lnTo>
                <a:lnTo>
                  <a:pt x="1409777" y="1588862"/>
                </a:lnTo>
                <a:lnTo>
                  <a:pt x="1402296" y="1587955"/>
                </a:lnTo>
                <a:lnTo>
                  <a:pt x="1394589" y="1587048"/>
                </a:lnTo>
                <a:lnTo>
                  <a:pt x="1387108" y="1585235"/>
                </a:lnTo>
                <a:lnTo>
                  <a:pt x="1379628" y="1583422"/>
                </a:lnTo>
                <a:lnTo>
                  <a:pt x="1372147" y="1581382"/>
                </a:lnTo>
                <a:lnTo>
                  <a:pt x="1364666" y="1578662"/>
                </a:lnTo>
                <a:lnTo>
                  <a:pt x="1357186" y="1575942"/>
                </a:lnTo>
                <a:lnTo>
                  <a:pt x="1349931" y="1572769"/>
                </a:lnTo>
                <a:lnTo>
                  <a:pt x="1342677" y="1569142"/>
                </a:lnTo>
                <a:lnTo>
                  <a:pt x="1335423" y="1565289"/>
                </a:lnTo>
                <a:lnTo>
                  <a:pt x="1328396" y="1560756"/>
                </a:lnTo>
                <a:lnTo>
                  <a:pt x="1321369" y="1556223"/>
                </a:lnTo>
                <a:lnTo>
                  <a:pt x="1314568" y="1551237"/>
                </a:lnTo>
                <a:lnTo>
                  <a:pt x="1307994" y="1545797"/>
                </a:lnTo>
                <a:lnTo>
                  <a:pt x="1301420" y="1540130"/>
                </a:lnTo>
                <a:lnTo>
                  <a:pt x="1295299" y="1534011"/>
                </a:lnTo>
                <a:lnTo>
                  <a:pt x="921716" y="1160708"/>
                </a:lnTo>
                <a:lnTo>
                  <a:pt x="910835" y="1166827"/>
                </a:lnTo>
                <a:lnTo>
                  <a:pt x="899501" y="1172720"/>
                </a:lnTo>
                <a:lnTo>
                  <a:pt x="888166" y="1178160"/>
                </a:lnTo>
                <a:lnTo>
                  <a:pt x="876832" y="1183600"/>
                </a:lnTo>
                <a:lnTo>
                  <a:pt x="865498" y="1188586"/>
                </a:lnTo>
                <a:lnTo>
                  <a:pt x="853710" y="1193346"/>
                </a:lnTo>
                <a:lnTo>
                  <a:pt x="842375" y="1198106"/>
                </a:lnTo>
                <a:lnTo>
                  <a:pt x="830588" y="1202412"/>
                </a:lnTo>
                <a:lnTo>
                  <a:pt x="818573" y="1206492"/>
                </a:lnTo>
                <a:lnTo>
                  <a:pt x="807012" y="1210572"/>
                </a:lnTo>
                <a:lnTo>
                  <a:pt x="794997" y="1213972"/>
                </a:lnTo>
                <a:lnTo>
                  <a:pt x="783210" y="1217598"/>
                </a:lnTo>
                <a:lnTo>
                  <a:pt x="771195" y="1220545"/>
                </a:lnTo>
                <a:lnTo>
                  <a:pt x="758954" y="1223265"/>
                </a:lnTo>
                <a:lnTo>
                  <a:pt x="746939" y="1226211"/>
                </a:lnTo>
                <a:lnTo>
                  <a:pt x="734698" y="1228478"/>
                </a:lnTo>
                <a:lnTo>
                  <a:pt x="722457" y="1230518"/>
                </a:lnTo>
                <a:lnTo>
                  <a:pt x="710442" y="1232784"/>
                </a:lnTo>
                <a:lnTo>
                  <a:pt x="698201" y="1234371"/>
                </a:lnTo>
                <a:lnTo>
                  <a:pt x="685960" y="1235731"/>
                </a:lnTo>
                <a:lnTo>
                  <a:pt x="673719" y="1236864"/>
                </a:lnTo>
                <a:lnTo>
                  <a:pt x="661478" y="1237771"/>
                </a:lnTo>
                <a:lnTo>
                  <a:pt x="649010" y="1238451"/>
                </a:lnTo>
                <a:lnTo>
                  <a:pt x="636769" y="1239131"/>
                </a:lnTo>
                <a:lnTo>
                  <a:pt x="624527" y="1239357"/>
                </a:lnTo>
                <a:lnTo>
                  <a:pt x="612060" y="1239357"/>
                </a:lnTo>
                <a:lnTo>
                  <a:pt x="599818" y="1239131"/>
                </a:lnTo>
                <a:lnTo>
                  <a:pt x="587577" y="1238451"/>
                </a:lnTo>
                <a:lnTo>
                  <a:pt x="575109" y="1237544"/>
                </a:lnTo>
                <a:lnTo>
                  <a:pt x="562868" y="1236638"/>
                </a:lnTo>
                <a:lnTo>
                  <a:pt x="550627" y="1235504"/>
                </a:lnTo>
                <a:lnTo>
                  <a:pt x="538612" y="1233918"/>
                </a:lnTo>
                <a:lnTo>
                  <a:pt x="526145" y="1232331"/>
                </a:lnTo>
                <a:lnTo>
                  <a:pt x="513903" y="1230291"/>
                </a:lnTo>
                <a:lnTo>
                  <a:pt x="501889" y="1228025"/>
                </a:lnTo>
                <a:lnTo>
                  <a:pt x="489648" y="1225758"/>
                </a:lnTo>
                <a:lnTo>
                  <a:pt x="477633" y="1222811"/>
                </a:lnTo>
                <a:lnTo>
                  <a:pt x="465619" y="1219865"/>
                </a:lnTo>
                <a:lnTo>
                  <a:pt x="453604" y="1216918"/>
                </a:lnTo>
                <a:lnTo>
                  <a:pt x="441590" y="1213292"/>
                </a:lnTo>
                <a:lnTo>
                  <a:pt x="429802" y="1209665"/>
                </a:lnTo>
                <a:lnTo>
                  <a:pt x="418014" y="1205812"/>
                </a:lnTo>
                <a:lnTo>
                  <a:pt x="406453" y="1201506"/>
                </a:lnTo>
                <a:lnTo>
                  <a:pt x="394665" y="1197199"/>
                </a:lnTo>
                <a:lnTo>
                  <a:pt x="383104" y="1192440"/>
                </a:lnTo>
                <a:lnTo>
                  <a:pt x="371543" y="1187680"/>
                </a:lnTo>
                <a:lnTo>
                  <a:pt x="359982" y="1182467"/>
                </a:lnTo>
                <a:lnTo>
                  <a:pt x="348647" y="1177027"/>
                </a:lnTo>
                <a:lnTo>
                  <a:pt x="337313" y="1171360"/>
                </a:lnTo>
                <a:lnTo>
                  <a:pt x="326205" y="1165694"/>
                </a:lnTo>
                <a:lnTo>
                  <a:pt x="315097" y="1159574"/>
                </a:lnTo>
                <a:lnTo>
                  <a:pt x="304216" y="1153228"/>
                </a:lnTo>
                <a:lnTo>
                  <a:pt x="293109" y="1146655"/>
                </a:lnTo>
                <a:lnTo>
                  <a:pt x="282454" y="1139629"/>
                </a:lnTo>
                <a:lnTo>
                  <a:pt x="272026" y="1132602"/>
                </a:lnTo>
                <a:lnTo>
                  <a:pt x="261145" y="1125349"/>
                </a:lnTo>
                <a:lnTo>
                  <a:pt x="250944" y="1117643"/>
                </a:lnTo>
                <a:lnTo>
                  <a:pt x="240517" y="1109937"/>
                </a:lnTo>
                <a:lnTo>
                  <a:pt x="230316" y="1101777"/>
                </a:lnTo>
                <a:lnTo>
                  <a:pt x="220341" y="1093617"/>
                </a:lnTo>
                <a:lnTo>
                  <a:pt x="210367" y="1085004"/>
                </a:lnTo>
                <a:lnTo>
                  <a:pt x="200620" y="1076391"/>
                </a:lnTo>
                <a:lnTo>
                  <a:pt x="191099" y="1067099"/>
                </a:lnTo>
                <a:lnTo>
                  <a:pt x="181578" y="1057806"/>
                </a:lnTo>
                <a:lnTo>
                  <a:pt x="170470" y="1046473"/>
                </a:lnTo>
                <a:lnTo>
                  <a:pt x="159589" y="1034913"/>
                </a:lnTo>
                <a:lnTo>
                  <a:pt x="149161" y="1022901"/>
                </a:lnTo>
                <a:lnTo>
                  <a:pt x="139187" y="1010888"/>
                </a:lnTo>
                <a:lnTo>
                  <a:pt x="129213" y="998648"/>
                </a:lnTo>
                <a:lnTo>
                  <a:pt x="119918" y="985956"/>
                </a:lnTo>
                <a:lnTo>
                  <a:pt x="110851" y="973489"/>
                </a:lnTo>
                <a:lnTo>
                  <a:pt x="102237" y="960797"/>
                </a:lnTo>
                <a:lnTo>
                  <a:pt x="93849" y="947651"/>
                </a:lnTo>
                <a:lnTo>
                  <a:pt x="85688" y="934505"/>
                </a:lnTo>
                <a:lnTo>
                  <a:pt x="78208" y="921358"/>
                </a:lnTo>
                <a:lnTo>
                  <a:pt x="70954" y="907986"/>
                </a:lnTo>
                <a:lnTo>
                  <a:pt x="64153" y="894386"/>
                </a:lnTo>
                <a:lnTo>
                  <a:pt x="57579" y="880560"/>
                </a:lnTo>
                <a:lnTo>
                  <a:pt x="51232" y="866734"/>
                </a:lnTo>
                <a:lnTo>
                  <a:pt x="45338" y="852908"/>
                </a:lnTo>
                <a:lnTo>
                  <a:pt x="39897" y="838856"/>
                </a:lnTo>
                <a:lnTo>
                  <a:pt x="34910" y="824803"/>
                </a:lnTo>
                <a:lnTo>
                  <a:pt x="30150" y="810524"/>
                </a:lnTo>
                <a:lnTo>
                  <a:pt x="25616" y="796244"/>
                </a:lnTo>
                <a:lnTo>
                  <a:pt x="21535" y="781738"/>
                </a:lnTo>
                <a:lnTo>
                  <a:pt x="17682" y="767232"/>
                </a:lnTo>
                <a:lnTo>
                  <a:pt x="14508" y="752726"/>
                </a:lnTo>
                <a:lnTo>
                  <a:pt x="11334" y="738220"/>
                </a:lnTo>
                <a:lnTo>
                  <a:pt x="8841" y="723487"/>
                </a:lnTo>
                <a:lnTo>
                  <a:pt x="6574" y="708755"/>
                </a:lnTo>
                <a:lnTo>
                  <a:pt x="4307" y="694022"/>
                </a:lnTo>
                <a:lnTo>
                  <a:pt x="2947" y="679289"/>
                </a:lnTo>
                <a:lnTo>
                  <a:pt x="1587" y="664330"/>
                </a:lnTo>
                <a:lnTo>
                  <a:pt x="680" y="649597"/>
                </a:lnTo>
                <a:lnTo>
                  <a:pt x="227" y="634638"/>
                </a:lnTo>
                <a:lnTo>
                  <a:pt x="0" y="619905"/>
                </a:lnTo>
                <a:lnTo>
                  <a:pt x="227" y="604946"/>
                </a:lnTo>
                <a:lnTo>
                  <a:pt x="680" y="589987"/>
                </a:lnTo>
                <a:lnTo>
                  <a:pt x="1587" y="575254"/>
                </a:lnTo>
                <a:lnTo>
                  <a:pt x="2947" y="560295"/>
                </a:lnTo>
                <a:lnTo>
                  <a:pt x="4307" y="545562"/>
                </a:lnTo>
                <a:lnTo>
                  <a:pt x="6574" y="530830"/>
                </a:lnTo>
                <a:lnTo>
                  <a:pt x="8841" y="516097"/>
                </a:lnTo>
                <a:lnTo>
                  <a:pt x="11334" y="501364"/>
                </a:lnTo>
                <a:lnTo>
                  <a:pt x="14508" y="486858"/>
                </a:lnTo>
                <a:lnTo>
                  <a:pt x="17682" y="472352"/>
                </a:lnTo>
                <a:lnTo>
                  <a:pt x="21535" y="457846"/>
                </a:lnTo>
                <a:lnTo>
                  <a:pt x="25616" y="443340"/>
                </a:lnTo>
                <a:lnTo>
                  <a:pt x="30150" y="429061"/>
                </a:lnTo>
                <a:lnTo>
                  <a:pt x="34910" y="414781"/>
                </a:lnTo>
                <a:lnTo>
                  <a:pt x="39897" y="400502"/>
                </a:lnTo>
                <a:lnTo>
                  <a:pt x="45338" y="386449"/>
                </a:lnTo>
                <a:lnTo>
                  <a:pt x="51232" y="372850"/>
                </a:lnTo>
                <a:lnTo>
                  <a:pt x="57579" y="359024"/>
                </a:lnTo>
                <a:lnTo>
                  <a:pt x="64153" y="345198"/>
                </a:lnTo>
                <a:lnTo>
                  <a:pt x="70954" y="331599"/>
                </a:lnTo>
                <a:lnTo>
                  <a:pt x="78208" y="318226"/>
                </a:lnTo>
                <a:lnTo>
                  <a:pt x="85688" y="304853"/>
                </a:lnTo>
                <a:lnTo>
                  <a:pt x="93849" y="291934"/>
                </a:lnTo>
                <a:lnTo>
                  <a:pt x="102237" y="278788"/>
                </a:lnTo>
                <a:lnTo>
                  <a:pt x="110851" y="266095"/>
                </a:lnTo>
                <a:lnTo>
                  <a:pt x="119918" y="253402"/>
                </a:lnTo>
                <a:lnTo>
                  <a:pt x="129213" y="240936"/>
                </a:lnTo>
                <a:lnTo>
                  <a:pt x="139187" y="228697"/>
                </a:lnTo>
                <a:lnTo>
                  <a:pt x="149161" y="216457"/>
                </a:lnTo>
                <a:lnTo>
                  <a:pt x="159589" y="204671"/>
                </a:lnTo>
                <a:lnTo>
                  <a:pt x="170470" y="193111"/>
                </a:lnTo>
                <a:lnTo>
                  <a:pt x="181578" y="181779"/>
                </a:lnTo>
                <a:lnTo>
                  <a:pt x="193139" y="170446"/>
                </a:lnTo>
                <a:lnTo>
                  <a:pt x="204473" y="159793"/>
                </a:lnTo>
                <a:lnTo>
                  <a:pt x="216488" y="149140"/>
                </a:lnTo>
                <a:lnTo>
                  <a:pt x="228729" y="139167"/>
                </a:lnTo>
                <a:lnTo>
                  <a:pt x="240743" y="129421"/>
                </a:lnTo>
                <a:lnTo>
                  <a:pt x="253438" y="119901"/>
                </a:lnTo>
                <a:lnTo>
                  <a:pt x="266133" y="110835"/>
                </a:lnTo>
                <a:lnTo>
                  <a:pt x="278600" y="102222"/>
                </a:lnTo>
                <a:lnTo>
                  <a:pt x="291748" y="93836"/>
                </a:lnTo>
                <a:lnTo>
                  <a:pt x="304896" y="85903"/>
                </a:lnTo>
                <a:lnTo>
                  <a:pt x="318271" y="78423"/>
                </a:lnTo>
                <a:lnTo>
                  <a:pt x="331646" y="71170"/>
                </a:lnTo>
                <a:lnTo>
                  <a:pt x="345020" y="64144"/>
                </a:lnTo>
                <a:lnTo>
                  <a:pt x="358848" y="57571"/>
                </a:lnTo>
                <a:lnTo>
                  <a:pt x="372676" y="51451"/>
                </a:lnTo>
                <a:lnTo>
                  <a:pt x="386504" y="45558"/>
                </a:lnTo>
                <a:lnTo>
                  <a:pt x="400559" y="40118"/>
                </a:lnTo>
                <a:lnTo>
                  <a:pt x="414840" y="34905"/>
                </a:lnTo>
                <a:lnTo>
                  <a:pt x="429122" y="30146"/>
                </a:lnTo>
                <a:lnTo>
                  <a:pt x="443403" y="25839"/>
                </a:lnTo>
                <a:lnTo>
                  <a:pt x="457911" y="21533"/>
                </a:lnTo>
                <a:lnTo>
                  <a:pt x="472419" y="17906"/>
                </a:lnTo>
                <a:lnTo>
                  <a:pt x="486927" y="14506"/>
                </a:lnTo>
                <a:lnTo>
                  <a:pt x="501435" y="11560"/>
                </a:lnTo>
                <a:lnTo>
                  <a:pt x="515944" y="8840"/>
                </a:lnTo>
                <a:lnTo>
                  <a:pt x="530678" y="6573"/>
                </a:lnTo>
                <a:lnTo>
                  <a:pt x="545413" y="4533"/>
                </a:lnTo>
                <a:lnTo>
                  <a:pt x="560148" y="3173"/>
                </a:lnTo>
                <a:lnTo>
                  <a:pt x="575109" y="1587"/>
                </a:lnTo>
                <a:lnTo>
                  <a:pt x="589844" y="907"/>
                </a:lnTo>
                <a:lnTo>
                  <a:pt x="604806" y="227"/>
                </a:lnTo>
                <a:lnTo>
                  <a:pt x="619540" y="0"/>
                </a:lnTo>
                <a:close/>
              </a:path>
            </a:pathLst>
          </a:custGeom>
          <a:solidFill>
            <a:schemeClr val="bg1">
              <a:lumMod val="65000"/>
            </a:schemeClr>
          </a:solidFill>
          <a:ln>
            <a:noFill/>
          </a:ln>
          <a:extLst/>
        </p:spPr>
        <p:txBody>
          <a:bodyPr lIns="111109" tIns="55554" rIns="111109" bIns="55554" anchor="ctr">
            <a:scene3d>
              <a:camera prst="orthographicFront"/>
              <a:lightRig rig="threePt" dir="t"/>
            </a:scene3d>
            <a:sp3d>
              <a:contourClr>
                <a:srgbClr val="FFFFFF"/>
              </a:contourClr>
            </a:sp3d>
          </a:bodyPr>
          <a:lstStyle/>
          <a:p>
            <a:pPr algn="ctr" defTabSz="914377" fontAlgn="auto">
              <a:spcBef>
                <a:spcPts val="0"/>
              </a:spcBef>
              <a:spcAft>
                <a:spcPts val="0"/>
              </a:spcAft>
              <a:defRPr/>
            </a:pPr>
            <a:endParaRPr lang="zh-CN" altLang="en-US">
              <a:solidFill>
                <a:srgbClr val="FFFFFF"/>
              </a:solidFill>
              <a:latin typeface="+mn-lt"/>
              <a:ea typeface="宋体" panose="02010600030101010101" pitchFamily="2" charset="-122"/>
            </a:endParaRPr>
          </a:p>
        </p:txBody>
      </p:sp>
      <p:grpSp>
        <p:nvGrpSpPr>
          <p:cNvPr id="141316" name="组合 5"/>
          <p:cNvGrpSpPr>
            <a:grpSpLocks/>
          </p:cNvGrpSpPr>
          <p:nvPr/>
        </p:nvGrpSpPr>
        <p:grpSpPr bwMode="auto">
          <a:xfrm>
            <a:off x="1582738" y="4729163"/>
            <a:ext cx="9218612" cy="1001712"/>
            <a:chOff x="1187624" y="4334068"/>
            <a:chExt cx="6913562" cy="1001886"/>
          </a:xfrm>
        </p:grpSpPr>
        <p:sp>
          <p:nvSpPr>
            <p:cNvPr id="7" name="TextBox 6"/>
            <p:cNvSpPr txBox="1">
              <a:spLocks noChangeArrowheads="1"/>
            </p:cNvSpPr>
            <p:nvPr/>
          </p:nvSpPr>
          <p:spPr bwMode="auto">
            <a:xfrm>
              <a:off x="1187624" y="4430922"/>
              <a:ext cx="6913562" cy="905032"/>
            </a:xfrm>
            <a:prstGeom prst="rect">
              <a:avLst/>
            </a:prstGeom>
            <a:noFill/>
            <a:ln>
              <a:noFill/>
            </a:ln>
            <a:extLst/>
          </p:spPr>
          <p:txBody>
            <a:bodyPr>
              <a:spAutoFit/>
            </a:bodyPr>
            <a:lstStyle>
              <a:lvl1pPr eaLnBrk="0" hangingPunct="0">
                <a:defRPr sz="3200" i="1">
                  <a:solidFill>
                    <a:schemeClr val="tx1"/>
                  </a:solidFill>
                  <a:latin typeface="Arial" charset="0"/>
                  <a:ea typeface="微软雅黑" pitchFamily="34" charset="-122"/>
                </a:defRPr>
              </a:lvl1pPr>
              <a:lvl2pPr marL="742950" indent="-285750" eaLnBrk="0" hangingPunct="0">
                <a:defRPr sz="3200" i="1">
                  <a:solidFill>
                    <a:schemeClr val="tx1"/>
                  </a:solidFill>
                  <a:latin typeface="Arial" charset="0"/>
                  <a:ea typeface="微软雅黑" pitchFamily="34" charset="-122"/>
                </a:defRPr>
              </a:lvl2pPr>
              <a:lvl3pPr marL="1143000" indent="-228600" eaLnBrk="0" hangingPunct="0">
                <a:defRPr sz="3200" i="1">
                  <a:solidFill>
                    <a:schemeClr val="tx1"/>
                  </a:solidFill>
                  <a:latin typeface="Arial" charset="0"/>
                  <a:ea typeface="微软雅黑" pitchFamily="34" charset="-122"/>
                </a:defRPr>
              </a:lvl3pPr>
              <a:lvl4pPr marL="1600200" indent="-228600" eaLnBrk="0" hangingPunct="0">
                <a:defRPr sz="3200" i="1">
                  <a:solidFill>
                    <a:schemeClr val="tx1"/>
                  </a:solidFill>
                  <a:latin typeface="Arial" charset="0"/>
                  <a:ea typeface="微软雅黑" pitchFamily="34" charset="-122"/>
                </a:defRPr>
              </a:lvl4pPr>
              <a:lvl5pPr marL="2057400" indent="-228600" eaLnBrk="0" hangingPunct="0">
                <a:defRPr sz="3200" i="1">
                  <a:solidFill>
                    <a:schemeClr val="tx1"/>
                  </a:solidFill>
                  <a:latin typeface="Arial" charset="0"/>
                  <a:ea typeface="微软雅黑" pitchFamily="34" charset="-122"/>
                </a:defRPr>
              </a:lvl5pPr>
              <a:lvl6pPr marL="2514600" indent="-228600" eaLnBrk="0" fontAlgn="base" hangingPunct="0">
                <a:spcBef>
                  <a:spcPct val="0"/>
                </a:spcBef>
                <a:spcAft>
                  <a:spcPct val="0"/>
                </a:spcAft>
                <a:defRPr sz="3200" i="1">
                  <a:solidFill>
                    <a:schemeClr val="tx1"/>
                  </a:solidFill>
                  <a:latin typeface="Arial" charset="0"/>
                  <a:ea typeface="微软雅黑" pitchFamily="34" charset="-122"/>
                </a:defRPr>
              </a:lvl6pPr>
              <a:lvl7pPr marL="2971800" indent="-228600" eaLnBrk="0" fontAlgn="base" hangingPunct="0">
                <a:spcBef>
                  <a:spcPct val="0"/>
                </a:spcBef>
                <a:spcAft>
                  <a:spcPct val="0"/>
                </a:spcAft>
                <a:defRPr sz="3200" i="1">
                  <a:solidFill>
                    <a:schemeClr val="tx1"/>
                  </a:solidFill>
                  <a:latin typeface="Arial" charset="0"/>
                  <a:ea typeface="微软雅黑" pitchFamily="34" charset="-122"/>
                </a:defRPr>
              </a:lvl7pPr>
              <a:lvl8pPr marL="3429000" indent="-228600" eaLnBrk="0" fontAlgn="base" hangingPunct="0">
                <a:spcBef>
                  <a:spcPct val="0"/>
                </a:spcBef>
                <a:spcAft>
                  <a:spcPct val="0"/>
                </a:spcAft>
                <a:defRPr sz="3200" i="1">
                  <a:solidFill>
                    <a:schemeClr val="tx1"/>
                  </a:solidFill>
                  <a:latin typeface="Arial" charset="0"/>
                  <a:ea typeface="微软雅黑" pitchFamily="34" charset="-122"/>
                </a:defRPr>
              </a:lvl8pPr>
              <a:lvl9pPr marL="3886200" indent="-228600" eaLnBrk="0" fontAlgn="base" hangingPunct="0">
                <a:spcBef>
                  <a:spcPct val="0"/>
                </a:spcBef>
                <a:spcAft>
                  <a:spcPct val="0"/>
                </a:spcAft>
                <a:defRPr sz="3200" i="1">
                  <a:solidFill>
                    <a:schemeClr val="tx1"/>
                  </a:solidFill>
                  <a:latin typeface="Arial" charset="0"/>
                  <a:ea typeface="微软雅黑" pitchFamily="34" charset="-122"/>
                </a:defRPr>
              </a:lvl9pPr>
            </a:lstStyle>
            <a:p>
              <a:pPr defTabSz="914377" fontAlgn="auto">
                <a:lnSpc>
                  <a:spcPct val="120000"/>
                </a:lnSpc>
                <a:spcBef>
                  <a:spcPts val="1458"/>
                </a:spcBef>
                <a:spcAft>
                  <a:spcPts val="0"/>
                </a:spcAft>
                <a:defRPr/>
              </a:pPr>
              <a:r>
                <a:rPr lang="zh-CN" altLang="en-US" sz="2200" b="1" i="0" dirty="0">
                  <a:solidFill>
                    <a:schemeClr val="tx1">
                      <a:lumMod val="65000"/>
                      <a:lumOff val="35000"/>
                    </a:schemeClr>
                  </a:solidFill>
                  <a:latin typeface="华文中宋" panose="02010600040101010101" pitchFamily="2" charset="-122"/>
                  <a:ea typeface="华文中宋" panose="02010600040101010101" pitchFamily="2" charset="-122"/>
                  <a:cs typeface="Arial" charset="0"/>
                </a:rPr>
                <a:t>电视、电台、报纸、杂志、传统户外</a:t>
              </a:r>
              <a:r>
                <a:rPr lang="zh-CN" altLang="en-US" sz="2200" b="1" i="0" dirty="0" smtClean="0">
                  <a:solidFill>
                    <a:schemeClr val="tx1">
                      <a:lumMod val="65000"/>
                      <a:lumOff val="35000"/>
                    </a:schemeClr>
                  </a:solidFill>
                  <a:latin typeface="华文中宋" panose="02010600040101010101" pitchFamily="2" charset="-122"/>
                  <a:ea typeface="华文中宋" panose="02010600040101010101" pitchFamily="2" charset="-122"/>
                  <a:cs typeface="Arial" charset="0"/>
                </a:rPr>
                <a:t>、电梯电视、</a:t>
              </a:r>
              <a:r>
                <a:rPr lang="zh-CN" altLang="en-US" sz="2200" b="1" i="0" dirty="0">
                  <a:solidFill>
                    <a:schemeClr val="tx1">
                      <a:lumMod val="65000"/>
                      <a:lumOff val="35000"/>
                    </a:schemeClr>
                  </a:solidFill>
                  <a:latin typeface="华文中宋" panose="02010600040101010101" pitchFamily="2" charset="-122"/>
                  <a:ea typeface="华文中宋" panose="02010600040101010101" pitchFamily="2" charset="-122"/>
                  <a:cs typeface="Arial" charset="0"/>
                </a:rPr>
                <a:t>影院视频、交通类视频（公交移动电视、出租车视频、地铁视频）、互联网</a:t>
              </a:r>
              <a:endParaRPr lang="en-US" altLang="zh-CN" sz="2200" b="1" i="0" dirty="0">
                <a:solidFill>
                  <a:schemeClr val="tx1">
                    <a:lumMod val="65000"/>
                    <a:lumOff val="35000"/>
                  </a:schemeClr>
                </a:solidFill>
                <a:latin typeface="华文中宋" panose="02010600040101010101" pitchFamily="2" charset="-122"/>
                <a:ea typeface="华文中宋" panose="02010600040101010101" pitchFamily="2" charset="-122"/>
                <a:cs typeface="Arial" charset="0"/>
              </a:endParaRPr>
            </a:p>
          </p:txBody>
        </p:sp>
        <p:sp>
          <p:nvSpPr>
            <p:cNvPr id="8" name="MH_Other_3"/>
            <p:cNvSpPr/>
            <p:nvPr>
              <p:custDataLst>
                <p:tags r:id="rId1"/>
              </p:custDataLst>
            </p:nvPr>
          </p:nvSpPr>
          <p:spPr>
            <a:xfrm flipH="1">
              <a:off x="7667823" y="5088261"/>
              <a:ext cx="178583" cy="177831"/>
            </a:xfrm>
            <a:custGeom>
              <a:avLst/>
              <a:gdLst>
                <a:gd name="connsiteX0" fmla="*/ 0 w 124620"/>
                <a:gd name="connsiteY0" fmla="*/ 0 h 124620"/>
                <a:gd name="connsiteX1" fmla="*/ 40085 w 124620"/>
                <a:gd name="connsiteY1" fmla="*/ 0 h 124620"/>
                <a:gd name="connsiteX2" fmla="*/ 40085 w 124620"/>
                <a:gd name="connsiteY2" fmla="*/ 87710 h 124620"/>
                <a:gd name="connsiteX3" fmla="*/ 124620 w 124620"/>
                <a:gd name="connsiteY3" fmla="*/ 87710 h 124620"/>
                <a:gd name="connsiteX4" fmla="*/ 124620 w 124620"/>
                <a:gd name="connsiteY4" fmla="*/ 124620 h 124620"/>
                <a:gd name="connsiteX5" fmla="*/ 0 w 124620"/>
                <a:gd name="connsiteY5" fmla="*/ 124620 h 124620"/>
                <a:gd name="connsiteX6" fmla="*/ 0 w 124620"/>
                <a:gd name="connsiteY6" fmla="*/ 0 h 124620"/>
                <a:gd name="connsiteX0" fmla="*/ 10901 w 135521"/>
                <a:gd name="connsiteY0" fmla="*/ 0 h 135375"/>
                <a:gd name="connsiteX1" fmla="*/ 50986 w 135521"/>
                <a:gd name="connsiteY1" fmla="*/ 0 h 135375"/>
                <a:gd name="connsiteX2" fmla="*/ 50986 w 135521"/>
                <a:gd name="connsiteY2" fmla="*/ 87710 h 135375"/>
                <a:gd name="connsiteX3" fmla="*/ 135521 w 135521"/>
                <a:gd name="connsiteY3" fmla="*/ 87710 h 135375"/>
                <a:gd name="connsiteX4" fmla="*/ 135521 w 135521"/>
                <a:gd name="connsiteY4" fmla="*/ 124620 h 135375"/>
                <a:gd name="connsiteX5" fmla="*/ 10901 w 135521"/>
                <a:gd name="connsiteY5" fmla="*/ 124620 h 135375"/>
                <a:gd name="connsiteX6" fmla="*/ 10901 w 135521"/>
                <a:gd name="connsiteY6" fmla="*/ 0 h 135375"/>
                <a:gd name="connsiteX0" fmla="*/ 10901 w 135521"/>
                <a:gd name="connsiteY0" fmla="*/ 0 h 135375"/>
                <a:gd name="connsiteX1" fmla="*/ 50986 w 135521"/>
                <a:gd name="connsiteY1" fmla="*/ 0 h 135375"/>
                <a:gd name="connsiteX2" fmla="*/ 50986 w 135521"/>
                <a:gd name="connsiteY2" fmla="*/ 87710 h 135375"/>
                <a:gd name="connsiteX3" fmla="*/ 135521 w 135521"/>
                <a:gd name="connsiteY3" fmla="*/ 87710 h 135375"/>
                <a:gd name="connsiteX4" fmla="*/ 135521 w 135521"/>
                <a:gd name="connsiteY4" fmla="*/ 124620 h 135375"/>
                <a:gd name="connsiteX5" fmla="*/ 10901 w 135521"/>
                <a:gd name="connsiteY5" fmla="*/ 124620 h 135375"/>
                <a:gd name="connsiteX6" fmla="*/ 10901 w 135521"/>
                <a:gd name="connsiteY6" fmla="*/ 0 h 135375"/>
                <a:gd name="connsiteX0" fmla="*/ 10901 w 135521"/>
                <a:gd name="connsiteY0" fmla="*/ 0 h 135375"/>
                <a:gd name="connsiteX1" fmla="*/ 50986 w 135521"/>
                <a:gd name="connsiteY1" fmla="*/ 87710 h 135375"/>
                <a:gd name="connsiteX2" fmla="*/ 135521 w 135521"/>
                <a:gd name="connsiteY2" fmla="*/ 87710 h 135375"/>
                <a:gd name="connsiteX3" fmla="*/ 135521 w 135521"/>
                <a:gd name="connsiteY3" fmla="*/ 124620 h 135375"/>
                <a:gd name="connsiteX4" fmla="*/ 10901 w 135521"/>
                <a:gd name="connsiteY4" fmla="*/ 124620 h 135375"/>
                <a:gd name="connsiteX5" fmla="*/ 10901 w 135521"/>
                <a:gd name="connsiteY5" fmla="*/ 0 h 135375"/>
                <a:gd name="connsiteX0" fmla="*/ 10901 w 135521"/>
                <a:gd name="connsiteY0" fmla="*/ 0 h 135375"/>
                <a:gd name="connsiteX1" fmla="*/ 50986 w 135521"/>
                <a:gd name="connsiteY1" fmla="*/ 87710 h 135375"/>
                <a:gd name="connsiteX2" fmla="*/ 135521 w 135521"/>
                <a:gd name="connsiteY2" fmla="*/ 124620 h 135375"/>
                <a:gd name="connsiteX3" fmla="*/ 10901 w 135521"/>
                <a:gd name="connsiteY3" fmla="*/ 124620 h 135375"/>
                <a:gd name="connsiteX4" fmla="*/ 10901 w 135521"/>
                <a:gd name="connsiteY4" fmla="*/ 0 h 135375"/>
                <a:gd name="connsiteX0" fmla="*/ 10901 w 135521"/>
                <a:gd name="connsiteY0" fmla="*/ 0 h 135375"/>
                <a:gd name="connsiteX1" fmla="*/ 39080 w 135521"/>
                <a:gd name="connsiteY1" fmla="*/ 101997 h 135375"/>
                <a:gd name="connsiteX2" fmla="*/ 135521 w 135521"/>
                <a:gd name="connsiteY2" fmla="*/ 124620 h 135375"/>
                <a:gd name="connsiteX3" fmla="*/ 10901 w 135521"/>
                <a:gd name="connsiteY3" fmla="*/ 124620 h 135375"/>
                <a:gd name="connsiteX4" fmla="*/ 10901 w 135521"/>
                <a:gd name="connsiteY4" fmla="*/ 0 h 135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21" h="135375">
                  <a:moveTo>
                    <a:pt x="10901" y="0"/>
                  </a:moveTo>
                  <a:lnTo>
                    <a:pt x="39080" y="101997"/>
                  </a:lnTo>
                  <a:lnTo>
                    <a:pt x="135521" y="124620"/>
                  </a:lnTo>
                  <a:cubicBezTo>
                    <a:pt x="114751" y="130772"/>
                    <a:pt x="31671" y="145390"/>
                    <a:pt x="10901" y="124620"/>
                  </a:cubicBezTo>
                  <a:cubicBezTo>
                    <a:pt x="-9869" y="103850"/>
                    <a:pt x="4220" y="20770"/>
                    <a:pt x="1090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endParaRPr lang="zh-CN" altLang="en-US"/>
            </a:p>
          </p:txBody>
        </p:sp>
        <p:sp>
          <p:nvSpPr>
            <p:cNvPr id="9" name="MH_Other_5"/>
            <p:cNvSpPr/>
            <p:nvPr>
              <p:custDataLst>
                <p:tags r:id="rId2"/>
              </p:custDataLst>
            </p:nvPr>
          </p:nvSpPr>
          <p:spPr>
            <a:xfrm rot="10800000">
              <a:off x="7667823" y="4334068"/>
              <a:ext cx="178583" cy="177831"/>
            </a:xfrm>
            <a:custGeom>
              <a:avLst/>
              <a:gdLst>
                <a:gd name="connsiteX0" fmla="*/ 0 w 124620"/>
                <a:gd name="connsiteY0" fmla="*/ 0 h 124620"/>
                <a:gd name="connsiteX1" fmla="*/ 40085 w 124620"/>
                <a:gd name="connsiteY1" fmla="*/ 0 h 124620"/>
                <a:gd name="connsiteX2" fmla="*/ 40085 w 124620"/>
                <a:gd name="connsiteY2" fmla="*/ 87710 h 124620"/>
                <a:gd name="connsiteX3" fmla="*/ 124620 w 124620"/>
                <a:gd name="connsiteY3" fmla="*/ 87710 h 124620"/>
                <a:gd name="connsiteX4" fmla="*/ 124620 w 124620"/>
                <a:gd name="connsiteY4" fmla="*/ 124620 h 124620"/>
                <a:gd name="connsiteX5" fmla="*/ 0 w 124620"/>
                <a:gd name="connsiteY5" fmla="*/ 124620 h 124620"/>
                <a:gd name="connsiteX6" fmla="*/ 0 w 124620"/>
                <a:gd name="connsiteY6" fmla="*/ 0 h 124620"/>
                <a:gd name="connsiteX0" fmla="*/ 10901 w 135521"/>
                <a:gd name="connsiteY0" fmla="*/ 0 h 135375"/>
                <a:gd name="connsiteX1" fmla="*/ 50986 w 135521"/>
                <a:gd name="connsiteY1" fmla="*/ 0 h 135375"/>
                <a:gd name="connsiteX2" fmla="*/ 50986 w 135521"/>
                <a:gd name="connsiteY2" fmla="*/ 87710 h 135375"/>
                <a:gd name="connsiteX3" fmla="*/ 135521 w 135521"/>
                <a:gd name="connsiteY3" fmla="*/ 87710 h 135375"/>
                <a:gd name="connsiteX4" fmla="*/ 135521 w 135521"/>
                <a:gd name="connsiteY4" fmla="*/ 124620 h 135375"/>
                <a:gd name="connsiteX5" fmla="*/ 10901 w 135521"/>
                <a:gd name="connsiteY5" fmla="*/ 124620 h 135375"/>
                <a:gd name="connsiteX6" fmla="*/ 10901 w 135521"/>
                <a:gd name="connsiteY6" fmla="*/ 0 h 135375"/>
                <a:gd name="connsiteX0" fmla="*/ 10901 w 135521"/>
                <a:gd name="connsiteY0" fmla="*/ 0 h 135375"/>
                <a:gd name="connsiteX1" fmla="*/ 50986 w 135521"/>
                <a:gd name="connsiteY1" fmla="*/ 0 h 135375"/>
                <a:gd name="connsiteX2" fmla="*/ 50986 w 135521"/>
                <a:gd name="connsiteY2" fmla="*/ 87710 h 135375"/>
                <a:gd name="connsiteX3" fmla="*/ 135521 w 135521"/>
                <a:gd name="connsiteY3" fmla="*/ 87710 h 135375"/>
                <a:gd name="connsiteX4" fmla="*/ 135521 w 135521"/>
                <a:gd name="connsiteY4" fmla="*/ 124620 h 135375"/>
                <a:gd name="connsiteX5" fmla="*/ 10901 w 135521"/>
                <a:gd name="connsiteY5" fmla="*/ 124620 h 135375"/>
                <a:gd name="connsiteX6" fmla="*/ 10901 w 135521"/>
                <a:gd name="connsiteY6" fmla="*/ 0 h 135375"/>
                <a:gd name="connsiteX0" fmla="*/ 10901 w 135521"/>
                <a:gd name="connsiteY0" fmla="*/ 0 h 135375"/>
                <a:gd name="connsiteX1" fmla="*/ 50986 w 135521"/>
                <a:gd name="connsiteY1" fmla="*/ 87710 h 135375"/>
                <a:gd name="connsiteX2" fmla="*/ 135521 w 135521"/>
                <a:gd name="connsiteY2" fmla="*/ 87710 h 135375"/>
                <a:gd name="connsiteX3" fmla="*/ 135521 w 135521"/>
                <a:gd name="connsiteY3" fmla="*/ 124620 h 135375"/>
                <a:gd name="connsiteX4" fmla="*/ 10901 w 135521"/>
                <a:gd name="connsiteY4" fmla="*/ 124620 h 135375"/>
                <a:gd name="connsiteX5" fmla="*/ 10901 w 135521"/>
                <a:gd name="connsiteY5" fmla="*/ 0 h 135375"/>
                <a:gd name="connsiteX0" fmla="*/ 10901 w 135521"/>
                <a:gd name="connsiteY0" fmla="*/ 0 h 135375"/>
                <a:gd name="connsiteX1" fmla="*/ 50986 w 135521"/>
                <a:gd name="connsiteY1" fmla="*/ 87710 h 135375"/>
                <a:gd name="connsiteX2" fmla="*/ 135521 w 135521"/>
                <a:gd name="connsiteY2" fmla="*/ 124620 h 135375"/>
                <a:gd name="connsiteX3" fmla="*/ 10901 w 135521"/>
                <a:gd name="connsiteY3" fmla="*/ 124620 h 135375"/>
                <a:gd name="connsiteX4" fmla="*/ 10901 w 135521"/>
                <a:gd name="connsiteY4" fmla="*/ 0 h 135375"/>
                <a:gd name="connsiteX0" fmla="*/ 10901 w 135521"/>
                <a:gd name="connsiteY0" fmla="*/ 0 h 135375"/>
                <a:gd name="connsiteX1" fmla="*/ 39080 w 135521"/>
                <a:gd name="connsiteY1" fmla="*/ 101997 h 135375"/>
                <a:gd name="connsiteX2" fmla="*/ 135521 w 135521"/>
                <a:gd name="connsiteY2" fmla="*/ 124620 h 135375"/>
                <a:gd name="connsiteX3" fmla="*/ 10901 w 135521"/>
                <a:gd name="connsiteY3" fmla="*/ 124620 h 135375"/>
                <a:gd name="connsiteX4" fmla="*/ 10901 w 135521"/>
                <a:gd name="connsiteY4" fmla="*/ 0 h 135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21" h="135375">
                  <a:moveTo>
                    <a:pt x="10901" y="0"/>
                  </a:moveTo>
                  <a:lnTo>
                    <a:pt x="39080" y="101997"/>
                  </a:lnTo>
                  <a:lnTo>
                    <a:pt x="135521" y="124620"/>
                  </a:lnTo>
                  <a:cubicBezTo>
                    <a:pt x="114751" y="130772"/>
                    <a:pt x="31671" y="145390"/>
                    <a:pt x="10901" y="124620"/>
                  </a:cubicBezTo>
                  <a:cubicBezTo>
                    <a:pt x="-9869" y="103850"/>
                    <a:pt x="4220" y="20770"/>
                    <a:pt x="1090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endParaRPr lang="zh-CN" altLang="en-US"/>
            </a:p>
          </p:txBody>
        </p:sp>
        <p:sp>
          <p:nvSpPr>
            <p:cNvPr id="10" name="MH_Other_2"/>
            <p:cNvSpPr/>
            <p:nvPr>
              <p:custDataLst>
                <p:tags r:id="rId3"/>
              </p:custDataLst>
            </p:nvPr>
          </p:nvSpPr>
          <p:spPr>
            <a:xfrm>
              <a:off x="1187624" y="5088261"/>
              <a:ext cx="177393" cy="177831"/>
            </a:xfrm>
            <a:custGeom>
              <a:avLst/>
              <a:gdLst>
                <a:gd name="connsiteX0" fmla="*/ 0 w 124620"/>
                <a:gd name="connsiteY0" fmla="*/ 0 h 124620"/>
                <a:gd name="connsiteX1" fmla="*/ 40085 w 124620"/>
                <a:gd name="connsiteY1" fmla="*/ 0 h 124620"/>
                <a:gd name="connsiteX2" fmla="*/ 40085 w 124620"/>
                <a:gd name="connsiteY2" fmla="*/ 87710 h 124620"/>
                <a:gd name="connsiteX3" fmla="*/ 124620 w 124620"/>
                <a:gd name="connsiteY3" fmla="*/ 87710 h 124620"/>
                <a:gd name="connsiteX4" fmla="*/ 124620 w 124620"/>
                <a:gd name="connsiteY4" fmla="*/ 124620 h 124620"/>
                <a:gd name="connsiteX5" fmla="*/ 0 w 124620"/>
                <a:gd name="connsiteY5" fmla="*/ 124620 h 124620"/>
                <a:gd name="connsiteX6" fmla="*/ 0 w 124620"/>
                <a:gd name="connsiteY6" fmla="*/ 0 h 124620"/>
                <a:gd name="connsiteX0" fmla="*/ 10901 w 135521"/>
                <a:gd name="connsiteY0" fmla="*/ 0 h 135375"/>
                <a:gd name="connsiteX1" fmla="*/ 50986 w 135521"/>
                <a:gd name="connsiteY1" fmla="*/ 0 h 135375"/>
                <a:gd name="connsiteX2" fmla="*/ 50986 w 135521"/>
                <a:gd name="connsiteY2" fmla="*/ 87710 h 135375"/>
                <a:gd name="connsiteX3" fmla="*/ 135521 w 135521"/>
                <a:gd name="connsiteY3" fmla="*/ 87710 h 135375"/>
                <a:gd name="connsiteX4" fmla="*/ 135521 w 135521"/>
                <a:gd name="connsiteY4" fmla="*/ 124620 h 135375"/>
                <a:gd name="connsiteX5" fmla="*/ 10901 w 135521"/>
                <a:gd name="connsiteY5" fmla="*/ 124620 h 135375"/>
                <a:gd name="connsiteX6" fmla="*/ 10901 w 135521"/>
                <a:gd name="connsiteY6" fmla="*/ 0 h 135375"/>
                <a:gd name="connsiteX0" fmla="*/ 10901 w 135521"/>
                <a:gd name="connsiteY0" fmla="*/ 0 h 135375"/>
                <a:gd name="connsiteX1" fmla="*/ 50986 w 135521"/>
                <a:gd name="connsiteY1" fmla="*/ 0 h 135375"/>
                <a:gd name="connsiteX2" fmla="*/ 50986 w 135521"/>
                <a:gd name="connsiteY2" fmla="*/ 87710 h 135375"/>
                <a:gd name="connsiteX3" fmla="*/ 135521 w 135521"/>
                <a:gd name="connsiteY3" fmla="*/ 87710 h 135375"/>
                <a:gd name="connsiteX4" fmla="*/ 135521 w 135521"/>
                <a:gd name="connsiteY4" fmla="*/ 124620 h 135375"/>
                <a:gd name="connsiteX5" fmla="*/ 10901 w 135521"/>
                <a:gd name="connsiteY5" fmla="*/ 124620 h 135375"/>
                <a:gd name="connsiteX6" fmla="*/ 10901 w 135521"/>
                <a:gd name="connsiteY6" fmla="*/ 0 h 135375"/>
                <a:gd name="connsiteX0" fmla="*/ 10901 w 135521"/>
                <a:gd name="connsiteY0" fmla="*/ 0 h 135375"/>
                <a:gd name="connsiteX1" fmla="*/ 50986 w 135521"/>
                <a:gd name="connsiteY1" fmla="*/ 87710 h 135375"/>
                <a:gd name="connsiteX2" fmla="*/ 135521 w 135521"/>
                <a:gd name="connsiteY2" fmla="*/ 87710 h 135375"/>
                <a:gd name="connsiteX3" fmla="*/ 135521 w 135521"/>
                <a:gd name="connsiteY3" fmla="*/ 124620 h 135375"/>
                <a:gd name="connsiteX4" fmla="*/ 10901 w 135521"/>
                <a:gd name="connsiteY4" fmla="*/ 124620 h 135375"/>
                <a:gd name="connsiteX5" fmla="*/ 10901 w 135521"/>
                <a:gd name="connsiteY5" fmla="*/ 0 h 135375"/>
                <a:gd name="connsiteX0" fmla="*/ 10901 w 135521"/>
                <a:gd name="connsiteY0" fmla="*/ 0 h 135375"/>
                <a:gd name="connsiteX1" fmla="*/ 50986 w 135521"/>
                <a:gd name="connsiteY1" fmla="*/ 87710 h 135375"/>
                <a:gd name="connsiteX2" fmla="*/ 135521 w 135521"/>
                <a:gd name="connsiteY2" fmla="*/ 124620 h 135375"/>
                <a:gd name="connsiteX3" fmla="*/ 10901 w 135521"/>
                <a:gd name="connsiteY3" fmla="*/ 124620 h 135375"/>
                <a:gd name="connsiteX4" fmla="*/ 10901 w 135521"/>
                <a:gd name="connsiteY4" fmla="*/ 0 h 135375"/>
                <a:gd name="connsiteX0" fmla="*/ 10901 w 135521"/>
                <a:gd name="connsiteY0" fmla="*/ 0 h 135375"/>
                <a:gd name="connsiteX1" fmla="*/ 39080 w 135521"/>
                <a:gd name="connsiteY1" fmla="*/ 101997 h 135375"/>
                <a:gd name="connsiteX2" fmla="*/ 135521 w 135521"/>
                <a:gd name="connsiteY2" fmla="*/ 124620 h 135375"/>
                <a:gd name="connsiteX3" fmla="*/ 10901 w 135521"/>
                <a:gd name="connsiteY3" fmla="*/ 124620 h 135375"/>
                <a:gd name="connsiteX4" fmla="*/ 10901 w 135521"/>
                <a:gd name="connsiteY4" fmla="*/ 0 h 135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21" h="135375">
                  <a:moveTo>
                    <a:pt x="10901" y="0"/>
                  </a:moveTo>
                  <a:lnTo>
                    <a:pt x="39080" y="101997"/>
                  </a:lnTo>
                  <a:lnTo>
                    <a:pt x="135521" y="124620"/>
                  </a:lnTo>
                  <a:cubicBezTo>
                    <a:pt x="114751" y="130772"/>
                    <a:pt x="31671" y="145390"/>
                    <a:pt x="10901" y="124620"/>
                  </a:cubicBezTo>
                  <a:cubicBezTo>
                    <a:pt x="-9869" y="103850"/>
                    <a:pt x="4220" y="20770"/>
                    <a:pt x="1090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endParaRPr lang="zh-CN" altLang="en-US"/>
            </a:p>
          </p:txBody>
        </p:sp>
        <p:sp>
          <p:nvSpPr>
            <p:cNvPr id="11" name="MH_Other_4"/>
            <p:cNvSpPr/>
            <p:nvPr>
              <p:custDataLst>
                <p:tags r:id="rId4"/>
              </p:custDataLst>
            </p:nvPr>
          </p:nvSpPr>
          <p:spPr>
            <a:xfrm rot="5400000">
              <a:off x="1187405" y="4334287"/>
              <a:ext cx="177831" cy="177393"/>
            </a:xfrm>
            <a:custGeom>
              <a:avLst/>
              <a:gdLst>
                <a:gd name="connsiteX0" fmla="*/ 0 w 124620"/>
                <a:gd name="connsiteY0" fmla="*/ 0 h 124620"/>
                <a:gd name="connsiteX1" fmla="*/ 40085 w 124620"/>
                <a:gd name="connsiteY1" fmla="*/ 0 h 124620"/>
                <a:gd name="connsiteX2" fmla="*/ 40085 w 124620"/>
                <a:gd name="connsiteY2" fmla="*/ 87710 h 124620"/>
                <a:gd name="connsiteX3" fmla="*/ 124620 w 124620"/>
                <a:gd name="connsiteY3" fmla="*/ 87710 h 124620"/>
                <a:gd name="connsiteX4" fmla="*/ 124620 w 124620"/>
                <a:gd name="connsiteY4" fmla="*/ 124620 h 124620"/>
                <a:gd name="connsiteX5" fmla="*/ 0 w 124620"/>
                <a:gd name="connsiteY5" fmla="*/ 124620 h 124620"/>
                <a:gd name="connsiteX6" fmla="*/ 0 w 124620"/>
                <a:gd name="connsiteY6" fmla="*/ 0 h 124620"/>
                <a:gd name="connsiteX0" fmla="*/ 10901 w 135521"/>
                <a:gd name="connsiteY0" fmla="*/ 0 h 135375"/>
                <a:gd name="connsiteX1" fmla="*/ 50986 w 135521"/>
                <a:gd name="connsiteY1" fmla="*/ 0 h 135375"/>
                <a:gd name="connsiteX2" fmla="*/ 50986 w 135521"/>
                <a:gd name="connsiteY2" fmla="*/ 87710 h 135375"/>
                <a:gd name="connsiteX3" fmla="*/ 135521 w 135521"/>
                <a:gd name="connsiteY3" fmla="*/ 87710 h 135375"/>
                <a:gd name="connsiteX4" fmla="*/ 135521 w 135521"/>
                <a:gd name="connsiteY4" fmla="*/ 124620 h 135375"/>
                <a:gd name="connsiteX5" fmla="*/ 10901 w 135521"/>
                <a:gd name="connsiteY5" fmla="*/ 124620 h 135375"/>
                <a:gd name="connsiteX6" fmla="*/ 10901 w 135521"/>
                <a:gd name="connsiteY6" fmla="*/ 0 h 135375"/>
                <a:gd name="connsiteX0" fmla="*/ 10901 w 135521"/>
                <a:gd name="connsiteY0" fmla="*/ 0 h 135375"/>
                <a:gd name="connsiteX1" fmla="*/ 50986 w 135521"/>
                <a:gd name="connsiteY1" fmla="*/ 0 h 135375"/>
                <a:gd name="connsiteX2" fmla="*/ 50986 w 135521"/>
                <a:gd name="connsiteY2" fmla="*/ 87710 h 135375"/>
                <a:gd name="connsiteX3" fmla="*/ 135521 w 135521"/>
                <a:gd name="connsiteY3" fmla="*/ 87710 h 135375"/>
                <a:gd name="connsiteX4" fmla="*/ 135521 w 135521"/>
                <a:gd name="connsiteY4" fmla="*/ 124620 h 135375"/>
                <a:gd name="connsiteX5" fmla="*/ 10901 w 135521"/>
                <a:gd name="connsiteY5" fmla="*/ 124620 h 135375"/>
                <a:gd name="connsiteX6" fmla="*/ 10901 w 135521"/>
                <a:gd name="connsiteY6" fmla="*/ 0 h 135375"/>
                <a:gd name="connsiteX0" fmla="*/ 10901 w 135521"/>
                <a:gd name="connsiteY0" fmla="*/ 0 h 135375"/>
                <a:gd name="connsiteX1" fmla="*/ 50986 w 135521"/>
                <a:gd name="connsiteY1" fmla="*/ 87710 h 135375"/>
                <a:gd name="connsiteX2" fmla="*/ 135521 w 135521"/>
                <a:gd name="connsiteY2" fmla="*/ 87710 h 135375"/>
                <a:gd name="connsiteX3" fmla="*/ 135521 w 135521"/>
                <a:gd name="connsiteY3" fmla="*/ 124620 h 135375"/>
                <a:gd name="connsiteX4" fmla="*/ 10901 w 135521"/>
                <a:gd name="connsiteY4" fmla="*/ 124620 h 135375"/>
                <a:gd name="connsiteX5" fmla="*/ 10901 w 135521"/>
                <a:gd name="connsiteY5" fmla="*/ 0 h 135375"/>
                <a:gd name="connsiteX0" fmla="*/ 10901 w 135521"/>
                <a:gd name="connsiteY0" fmla="*/ 0 h 135375"/>
                <a:gd name="connsiteX1" fmla="*/ 50986 w 135521"/>
                <a:gd name="connsiteY1" fmla="*/ 87710 h 135375"/>
                <a:gd name="connsiteX2" fmla="*/ 135521 w 135521"/>
                <a:gd name="connsiteY2" fmla="*/ 124620 h 135375"/>
                <a:gd name="connsiteX3" fmla="*/ 10901 w 135521"/>
                <a:gd name="connsiteY3" fmla="*/ 124620 h 135375"/>
                <a:gd name="connsiteX4" fmla="*/ 10901 w 135521"/>
                <a:gd name="connsiteY4" fmla="*/ 0 h 135375"/>
                <a:gd name="connsiteX0" fmla="*/ 10901 w 135521"/>
                <a:gd name="connsiteY0" fmla="*/ 0 h 135375"/>
                <a:gd name="connsiteX1" fmla="*/ 39080 w 135521"/>
                <a:gd name="connsiteY1" fmla="*/ 101997 h 135375"/>
                <a:gd name="connsiteX2" fmla="*/ 135521 w 135521"/>
                <a:gd name="connsiteY2" fmla="*/ 124620 h 135375"/>
                <a:gd name="connsiteX3" fmla="*/ 10901 w 135521"/>
                <a:gd name="connsiteY3" fmla="*/ 124620 h 135375"/>
                <a:gd name="connsiteX4" fmla="*/ 10901 w 135521"/>
                <a:gd name="connsiteY4" fmla="*/ 0 h 135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21" h="135375">
                  <a:moveTo>
                    <a:pt x="10901" y="0"/>
                  </a:moveTo>
                  <a:lnTo>
                    <a:pt x="39080" y="101997"/>
                  </a:lnTo>
                  <a:lnTo>
                    <a:pt x="135521" y="124620"/>
                  </a:lnTo>
                  <a:cubicBezTo>
                    <a:pt x="114751" y="130772"/>
                    <a:pt x="31671" y="145390"/>
                    <a:pt x="10901" y="124620"/>
                  </a:cubicBezTo>
                  <a:cubicBezTo>
                    <a:pt x="-9869" y="103850"/>
                    <a:pt x="4220" y="20770"/>
                    <a:pt x="1090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endParaRPr lang="zh-CN" altLang="en-US"/>
            </a:p>
          </p:txBody>
        </p:sp>
      </p:grpSp>
      <p:sp>
        <p:nvSpPr>
          <p:cNvPr id="12" name="Text Box 11"/>
          <p:cNvSpPr txBox="1">
            <a:spLocks noChangeArrowheads="1"/>
          </p:cNvSpPr>
          <p:nvPr/>
        </p:nvSpPr>
        <p:spPr bwMode="auto">
          <a:xfrm>
            <a:off x="1103313" y="6453188"/>
            <a:ext cx="9823450" cy="296862"/>
          </a:xfrm>
          <a:prstGeom prst="rect">
            <a:avLst/>
          </a:prstGeom>
          <a:noFill/>
          <a:ln w="9525">
            <a:noFill/>
            <a:miter lim="800000"/>
            <a:headEnd/>
            <a:tailEnd/>
          </a:ln>
        </p:spPr>
        <p:txBody>
          <a:bodyPr lIns="111109" tIns="55554" rIns="111109" bIns="55554">
            <a:spAutoFit/>
          </a:bodyPr>
          <a:lstStyle/>
          <a:p>
            <a:pPr algn="r" defTabSz="914377" fontAlgn="auto">
              <a:spcBef>
                <a:spcPct val="50000"/>
              </a:spcBef>
              <a:spcAft>
                <a:spcPts val="0"/>
              </a:spcAft>
              <a:defRPr/>
            </a:pPr>
            <a:r>
              <a:rPr lang="zh-CN" altLang="en-US" sz="1200" dirty="0">
                <a:solidFill>
                  <a:schemeClr val="tx1">
                    <a:lumMod val="65000"/>
                    <a:lumOff val="35000"/>
                  </a:schemeClr>
                </a:solidFill>
                <a:latin typeface="+mn-lt"/>
                <a:ea typeface="+mn-ea"/>
                <a:cs typeface="Times New Roman" pitchFamily="18" charset="0"/>
              </a:rPr>
              <a:t>数据来源：</a:t>
            </a:r>
            <a:r>
              <a:rPr lang="en-US" altLang="zh-CN" sz="1200" dirty="0">
                <a:solidFill>
                  <a:schemeClr val="tx1">
                    <a:lumMod val="65000"/>
                    <a:lumOff val="35000"/>
                  </a:schemeClr>
                </a:solidFill>
                <a:latin typeface="+mn-lt"/>
                <a:ea typeface="+mn-ea"/>
                <a:cs typeface="Times New Roman" pitchFamily="18" charset="0"/>
              </a:rPr>
              <a:t>CTR</a:t>
            </a:r>
            <a:r>
              <a:rPr lang="zh-CN" altLang="en-US" sz="1200" dirty="0">
                <a:solidFill>
                  <a:schemeClr val="tx1">
                    <a:lumMod val="65000"/>
                    <a:lumOff val="35000"/>
                  </a:schemeClr>
                </a:solidFill>
                <a:latin typeface="+mn-lt"/>
                <a:ea typeface="+mn-ea"/>
                <a:cs typeface="Times New Roman" pitchFamily="18" charset="0"/>
              </a:rPr>
              <a:t>媒介智</a:t>
            </a:r>
            <a:r>
              <a:rPr lang="zh-CN" altLang="en-US" sz="1200" dirty="0">
                <a:solidFill>
                  <a:schemeClr val="tx1">
                    <a:lumMod val="65000"/>
                    <a:lumOff val="35000"/>
                  </a:schemeClr>
                </a:solidFill>
                <a:latin typeface="+mn-lt"/>
                <a:ea typeface="+mn-ea"/>
                <a:cs typeface="Times New Roman" pitchFamily="18" charset="0"/>
              </a:rPr>
              <a:t>讯</a:t>
            </a:r>
            <a:r>
              <a:rPr lang="en-US" altLang="zh-CN" sz="1200" dirty="0">
                <a:solidFill>
                  <a:schemeClr val="tx1">
                    <a:lumMod val="65000"/>
                    <a:lumOff val="35000"/>
                  </a:schemeClr>
                </a:solidFill>
                <a:latin typeface="+mn-lt"/>
                <a:ea typeface="+mn-ea"/>
                <a:cs typeface="Times New Roman" pitchFamily="18" charset="0"/>
              </a:rPr>
              <a:t>ADP</a:t>
            </a:r>
            <a:r>
              <a:rPr lang="zh-CN" altLang="en-US" sz="1200" dirty="0">
                <a:solidFill>
                  <a:schemeClr val="tx1">
                    <a:lumMod val="65000"/>
                    <a:lumOff val="35000"/>
                  </a:schemeClr>
                </a:solidFill>
                <a:latin typeface="+mn-lt"/>
                <a:ea typeface="+mn-ea"/>
                <a:cs typeface="Times New Roman" pitchFamily="18" charset="0"/>
              </a:rPr>
              <a:t>   </a:t>
            </a:r>
            <a:r>
              <a:rPr lang="zh-CN" altLang="en-US" sz="1200" dirty="0">
                <a:solidFill>
                  <a:schemeClr val="tx1">
                    <a:lumMod val="65000"/>
                    <a:lumOff val="35000"/>
                  </a:schemeClr>
                </a:solidFill>
                <a:latin typeface="+mn-lt"/>
                <a:ea typeface="+mn-ea"/>
                <a:cs typeface="Times New Roman" pitchFamily="18" charset="0"/>
              </a:rPr>
              <a:t>同比增长按前一年基准计算</a:t>
            </a:r>
          </a:p>
        </p:txBody>
      </p:sp>
      <p:sp>
        <p:nvSpPr>
          <p:cNvPr id="141318" name="矩形 1"/>
          <p:cNvSpPr>
            <a:spLocks noChangeArrowheads="1"/>
          </p:cNvSpPr>
          <p:nvPr/>
        </p:nvSpPr>
        <p:spPr bwMode="auto">
          <a:xfrm>
            <a:off x="8650288" y="2382838"/>
            <a:ext cx="2835275" cy="1323975"/>
          </a:xfrm>
          <a:prstGeom prst="rect">
            <a:avLst/>
          </a:prstGeom>
          <a:noFill/>
          <a:ln w="9525">
            <a:noFill/>
            <a:miter lim="800000"/>
            <a:headEnd/>
            <a:tailEnd/>
          </a:ln>
        </p:spPr>
        <p:txBody>
          <a:bodyPr wrap="none">
            <a:spAutoFit/>
          </a:bodyPr>
          <a:lstStyle/>
          <a:p>
            <a:r>
              <a:rPr lang="en-US" altLang="zh-CN" sz="8000" b="1">
                <a:solidFill>
                  <a:schemeClr val="accent1"/>
                </a:solidFill>
                <a:latin typeface="Times New Roman" pitchFamily="18" charset="0"/>
                <a:ea typeface="华文中宋"/>
                <a:cs typeface="华文中宋"/>
              </a:rPr>
              <a:t>-0.6%</a:t>
            </a:r>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noGrp="1"/>
          </p:cNvSpPr>
          <p:nvPr>
            <p:ph type="title"/>
          </p:nvPr>
        </p:nvSpPr>
        <p:spPr>
          <a:xfrm>
            <a:off x="501650" y="338138"/>
            <a:ext cx="10394950" cy="676275"/>
          </a:xfrm>
        </p:spPr>
        <p:txBody>
          <a:bodyPr>
            <a:spAutoFit/>
          </a:bodyPr>
          <a:lstStyle/>
          <a:p>
            <a:pPr defTabSz="914309" fontAlgn="auto">
              <a:spcAft>
                <a:spcPts val="0"/>
              </a:spcAft>
              <a:defRPr/>
            </a:pPr>
            <a:r>
              <a:rPr lang="en-US" altLang="zh-CN" sz="3600" dirty="0" smtClean="0">
                <a:latin typeface="Arial" panose="020B0604020202020204" pitchFamily="34" charset="0"/>
              </a:rPr>
              <a:t>2015</a:t>
            </a:r>
            <a:r>
              <a:rPr lang="zh-CN" altLang="en-US" sz="3600" dirty="0" smtClean="0">
                <a:latin typeface="Arial" panose="020B0604020202020204" pitchFamily="34" charset="0"/>
              </a:rPr>
              <a:t>年</a:t>
            </a:r>
            <a:r>
              <a:rPr lang="zh-CN" altLang="en-US" sz="3400" dirty="0" smtClean="0">
                <a:latin typeface="华文中宋"/>
                <a:cs typeface="+mn-cs"/>
              </a:rPr>
              <a:t>不同媒体增长</a:t>
            </a:r>
            <a:r>
              <a:rPr lang="zh-CN" altLang="en-US" sz="3400" dirty="0">
                <a:latin typeface="华文中宋"/>
                <a:cs typeface="+mn-cs"/>
              </a:rPr>
              <a:t>差异明显分化</a:t>
            </a:r>
          </a:p>
        </p:txBody>
      </p:sp>
      <p:sp>
        <p:nvSpPr>
          <p:cNvPr id="6" name="Text Box 13"/>
          <p:cNvSpPr txBox="1">
            <a:spLocks noChangeArrowheads="1"/>
          </p:cNvSpPr>
          <p:nvPr/>
        </p:nvSpPr>
        <p:spPr bwMode="auto">
          <a:xfrm>
            <a:off x="623888" y="1700213"/>
            <a:ext cx="11041062" cy="374650"/>
          </a:xfrm>
          <a:prstGeom prst="rect">
            <a:avLst/>
          </a:prstGeom>
          <a:solidFill>
            <a:schemeClr val="bg1">
              <a:lumMod val="95000"/>
            </a:schemeClr>
          </a:solidFill>
          <a:ln w="9525" algn="ctr">
            <a:noFill/>
            <a:miter lim="800000"/>
            <a:headEnd/>
            <a:tailEnd/>
          </a:ln>
        </p:spPr>
        <p:txBody>
          <a:bodyPr lIns="111109" tIns="55554" rIns="111109" bIns="55554">
            <a:spAutoFit/>
          </a:bodyPr>
          <a:lstStyle/>
          <a:p>
            <a:pPr algn="ctr" defTabSz="914377" fontAlgn="auto">
              <a:spcBef>
                <a:spcPct val="50000"/>
              </a:spcBef>
              <a:spcAft>
                <a:spcPts val="0"/>
              </a:spcAft>
              <a:defRPr/>
            </a:pPr>
            <a:r>
              <a:rPr lang="en-US" altLang="zh-CN" sz="1700" b="1" dirty="0">
                <a:solidFill>
                  <a:schemeClr val="tx1">
                    <a:lumMod val="95000"/>
                    <a:lumOff val="5000"/>
                  </a:schemeClr>
                </a:solidFill>
                <a:latin typeface="+mj-lt"/>
                <a:ea typeface="+mn-ea"/>
                <a:cs typeface="Times New Roman" pitchFamily="18" charset="0"/>
              </a:rPr>
              <a:t>2015</a:t>
            </a:r>
            <a:r>
              <a:rPr lang="zh-CN" altLang="en-US" sz="1700" b="1" dirty="0">
                <a:solidFill>
                  <a:schemeClr val="tx1">
                    <a:lumMod val="95000"/>
                    <a:lumOff val="5000"/>
                  </a:schemeClr>
                </a:solidFill>
                <a:latin typeface="+mj-lt"/>
                <a:ea typeface="+mn-ea"/>
                <a:cs typeface="Times New Roman" pitchFamily="18" charset="0"/>
              </a:rPr>
              <a:t>年各媒介广告刊例花费同比变化</a:t>
            </a:r>
          </a:p>
        </p:txBody>
      </p:sp>
      <p:pic>
        <p:nvPicPr>
          <p:cNvPr id="11" name="图片 10"/>
          <p:cNvPicPr>
            <a:picLocks noChangeAspect="1"/>
          </p:cNvPicPr>
          <p:nvPr/>
        </p:nvPicPr>
        <p:blipFill>
          <a:blip r:embed="rId3"/>
          <a:srcRect/>
          <a:stretch>
            <a:fillRect/>
          </a:stretch>
        </p:blipFill>
        <p:spPr bwMode="auto">
          <a:xfrm>
            <a:off x="869950" y="2095500"/>
            <a:ext cx="10452100" cy="3676650"/>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linds(horizont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noGrp="1"/>
          </p:cNvSpPr>
          <p:nvPr>
            <p:ph type="title"/>
          </p:nvPr>
        </p:nvSpPr>
        <p:spPr>
          <a:xfrm>
            <a:off x="539750" y="549275"/>
            <a:ext cx="11172825" cy="844550"/>
          </a:xfrm>
        </p:spPr>
        <p:txBody>
          <a:bodyPr>
            <a:normAutofit fontScale="90000"/>
          </a:bodyPr>
          <a:lstStyle/>
          <a:p>
            <a:pPr defTabSz="914309" fontAlgn="auto">
              <a:spcAft>
                <a:spcPts val="0"/>
              </a:spcAft>
              <a:defRPr/>
            </a:pPr>
            <a:r>
              <a:rPr lang="en-US" altLang="zh-CN" sz="3800" dirty="0">
                <a:latin typeface="Arial" panose="020B0604020202020204" pitchFamily="34" charset="0"/>
                <a:cs typeface="Arial" panose="020B0604020202020204" pitchFamily="34" charset="0"/>
              </a:rPr>
              <a:t>2016</a:t>
            </a:r>
            <a:r>
              <a:rPr lang="zh-CN" altLang="en-US" sz="3800" dirty="0">
                <a:latin typeface="Arial" panose="020B0604020202020204" pitchFamily="34" charset="0"/>
                <a:cs typeface="Arial" panose="020B0604020202020204" pitchFamily="34" charset="0"/>
              </a:rPr>
              <a:t>年，</a:t>
            </a:r>
            <a:r>
              <a:rPr lang="zh-CN" altLang="en-US" sz="3800" dirty="0" smtClean="0">
                <a:latin typeface="Arial" panose="020B0604020202020204" pitchFamily="34" charset="0"/>
                <a:cs typeface="Arial" panose="020B0604020202020204" pitchFamily="34" charset="0"/>
              </a:rPr>
              <a:t>新媒体</a:t>
            </a:r>
            <a:r>
              <a:rPr lang="zh-CN" altLang="en-US" sz="3800" dirty="0">
                <a:latin typeface="Arial" panose="020B0604020202020204" pitchFamily="34" charset="0"/>
                <a:cs typeface="Arial" panose="020B0604020202020204" pitchFamily="34" charset="0"/>
              </a:rPr>
              <a:t>仍保持逆势快速增长态势</a:t>
            </a:r>
            <a:r>
              <a:rPr lang="en-US" altLang="zh-CN" sz="3200" dirty="0">
                <a:latin typeface="Arial" panose="020B0604020202020204" pitchFamily="34" charset="0"/>
                <a:cs typeface="Arial" panose="020B0604020202020204" pitchFamily="34" charset="0"/>
              </a:rPr>
              <a:t/>
            </a:r>
            <a:br>
              <a:rPr lang="en-US" altLang="zh-CN" sz="3200" dirty="0">
                <a:latin typeface="Arial" panose="020B0604020202020204" pitchFamily="34" charset="0"/>
                <a:cs typeface="Arial" panose="020B0604020202020204" pitchFamily="34" charset="0"/>
              </a:rPr>
            </a:br>
            <a:endParaRPr lang="zh-CN" altLang="en-US" sz="3200" dirty="0">
              <a:latin typeface="Arial" panose="020B0604020202020204" pitchFamily="34" charset="0"/>
              <a:cs typeface="Arial" panose="020B0604020202020204" pitchFamily="34" charset="0"/>
            </a:endParaRPr>
          </a:p>
        </p:txBody>
      </p:sp>
      <p:sp>
        <p:nvSpPr>
          <p:cNvPr id="6" name="Text Box 13"/>
          <p:cNvSpPr txBox="1">
            <a:spLocks noChangeArrowheads="1"/>
          </p:cNvSpPr>
          <p:nvPr/>
        </p:nvSpPr>
        <p:spPr bwMode="auto">
          <a:xfrm>
            <a:off x="900113" y="1331913"/>
            <a:ext cx="9571037" cy="384175"/>
          </a:xfrm>
          <a:prstGeom prst="rect">
            <a:avLst/>
          </a:prstGeom>
          <a:solidFill>
            <a:schemeClr val="bg1">
              <a:lumMod val="95000"/>
            </a:schemeClr>
          </a:solidFill>
          <a:ln w="9525" algn="ctr">
            <a:noFill/>
            <a:miter lim="800000"/>
          </a:ln>
        </p:spPr>
        <p:txBody>
          <a:bodyPr lIns="91132" tIns="45560" rIns="91132" bIns="45560">
            <a:spAutoFit/>
          </a:bodyPr>
          <a:lstStyle/>
          <a:p>
            <a:pPr algn="ctr" defTabSz="911203" fontAlgn="auto">
              <a:spcBef>
                <a:spcPct val="50000"/>
              </a:spcBef>
              <a:spcAft>
                <a:spcPts val="0"/>
              </a:spcAft>
              <a:defRPr/>
            </a:pPr>
            <a:r>
              <a:rPr lang="en-US" altLang="zh-CN" sz="1900" b="1" dirty="0">
                <a:solidFill>
                  <a:srgbClr val="000000"/>
                </a:solidFill>
                <a:latin typeface="+mn-lt"/>
                <a:ea typeface="+mn-ea"/>
                <a:cs typeface="Arial" panose="020B0604020202020204" pitchFamily="34" charset="0"/>
              </a:rPr>
              <a:t>2016</a:t>
            </a:r>
            <a:r>
              <a:rPr lang="zh-CN" altLang="en-US" sz="1900" b="1">
                <a:solidFill>
                  <a:srgbClr val="000000"/>
                </a:solidFill>
                <a:latin typeface="+mn-lt"/>
                <a:ea typeface="+mn-ea"/>
                <a:cs typeface="Arial" panose="020B0604020202020204" pitchFamily="34" charset="0"/>
              </a:rPr>
              <a:t>年各</a:t>
            </a:r>
            <a:r>
              <a:rPr lang="zh-CN" altLang="en-US" sz="1900" b="1" dirty="0">
                <a:solidFill>
                  <a:srgbClr val="000000"/>
                </a:solidFill>
                <a:latin typeface="+mn-lt"/>
                <a:ea typeface="+mn-ea"/>
                <a:cs typeface="Arial" panose="020B0604020202020204" pitchFamily="34" charset="0"/>
              </a:rPr>
              <a:t>媒介广告刊例花费同比变化</a:t>
            </a:r>
          </a:p>
        </p:txBody>
      </p:sp>
      <p:sp>
        <p:nvSpPr>
          <p:cNvPr id="144387" name="灯片编号占位符 1"/>
          <p:cNvSpPr>
            <a:spLocks noGrp="1"/>
          </p:cNvSpPr>
          <p:nvPr>
            <p:ph type="sldNum" sz="quarter" idx="10"/>
          </p:nvPr>
        </p:nvSpPr>
        <p:spPr bwMode="auto">
          <a:xfrm>
            <a:off x="9012238" y="6526213"/>
            <a:ext cx="2844800" cy="365125"/>
          </a:xfrm>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C20548D3-8B1B-41A3-8339-30A5A10FA902}" type="slidenum">
              <a:rPr lang="zh-CN" altLang="en-US"/>
              <a:pPr defTabSz="912813" fontAlgn="base">
                <a:spcBef>
                  <a:spcPct val="0"/>
                </a:spcBef>
                <a:spcAft>
                  <a:spcPct val="0"/>
                </a:spcAft>
              </a:pPr>
              <a:t>77</a:t>
            </a:fld>
            <a:endParaRPr lang="en-US" altLang="zh-CN"/>
          </a:p>
        </p:txBody>
      </p:sp>
      <p:sp>
        <p:nvSpPr>
          <p:cNvPr id="144388" name="Text Box 11"/>
          <p:cNvSpPr txBox="1">
            <a:spLocks noChangeArrowheads="1"/>
          </p:cNvSpPr>
          <p:nvPr/>
        </p:nvSpPr>
        <p:spPr bwMode="auto">
          <a:xfrm>
            <a:off x="1416050" y="6267450"/>
            <a:ext cx="9823450" cy="296863"/>
          </a:xfrm>
          <a:prstGeom prst="rect">
            <a:avLst/>
          </a:prstGeom>
          <a:noFill/>
          <a:ln w="9525">
            <a:noFill/>
            <a:miter lim="800000"/>
            <a:headEnd/>
            <a:tailEnd/>
          </a:ln>
        </p:spPr>
        <p:txBody>
          <a:bodyPr lIns="111107" tIns="55553" rIns="111107" bIns="55553">
            <a:spAutoFit/>
          </a:bodyPr>
          <a:lstStyle/>
          <a:p>
            <a:pPr>
              <a:spcBef>
                <a:spcPct val="50000"/>
              </a:spcBef>
            </a:pPr>
            <a:r>
              <a:rPr lang="zh-CN" altLang="en-US" sz="1200">
                <a:solidFill>
                  <a:srgbClr val="595959"/>
                </a:solidFill>
                <a:latin typeface="Calibri Light"/>
                <a:ea typeface="微软雅黑" pitchFamily="34" charset="-122"/>
                <a:cs typeface="Times New Roman" pitchFamily="18" charset="0"/>
              </a:rPr>
              <a:t>数据说明：框架媒体数据范围为</a:t>
            </a:r>
            <a:r>
              <a:rPr lang="en-US" altLang="zh-CN" sz="1200">
                <a:solidFill>
                  <a:srgbClr val="595959"/>
                </a:solidFill>
                <a:latin typeface="Calibri Light"/>
                <a:ea typeface="微软雅黑" pitchFamily="34" charset="-122"/>
                <a:cs typeface="Times New Roman" pitchFamily="18" charset="0"/>
              </a:rPr>
              <a:t>2015/2016</a:t>
            </a:r>
            <a:r>
              <a:rPr lang="zh-CN" altLang="en-US" sz="1200">
                <a:solidFill>
                  <a:srgbClr val="595959"/>
                </a:solidFill>
                <a:latin typeface="Calibri Light"/>
                <a:ea typeface="微软雅黑" pitchFamily="34" charset="-122"/>
                <a:cs typeface="Times New Roman" pitchFamily="18" charset="0"/>
              </a:rPr>
              <a:t>年数据来源：</a:t>
            </a:r>
            <a:r>
              <a:rPr lang="en-US" altLang="zh-CN" sz="1200">
                <a:solidFill>
                  <a:srgbClr val="595959"/>
                </a:solidFill>
                <a:latin typeface="Calibri Light"/>
                <a:ea typeface="微软雅黑" pitchFamily="34" charset="-122"/>
                <a:cs typeface="Times New Roman" pitchFamily="18" charset="0"/>
              </a:rPr>
              <a:t>CTR</a:t>
            </a:r>
            <a:r>
              <a:rPr lang="zh-CN" altLang="en-US" sz="1200">
                <a:solidFill>
                  <a:srgbClr val="595959"/>
                </a:solidFill>
                <a:latin typeface="Calibri Light"/>
                <a:ea typeface="微软雅黑" pitchFamily="34" charset="-122"/>
                <a:cs typeface="Times New Roman" pitchFamily="18" charset="0"/>
              </a:rPr>
              <a:t>媒介智讯   同比增长按前一年基准计算</a:t>
            </a:r>
          </a:p>
        </p:txBody>
      </p:sp>
      <p:sp>
        <p:nvSpPr>
          <p:cNvPr id="2" name="右大括号 1"/>
          <p:cNvSpPr/>
          <p:nvPr/>
        </p:nvSpPr>
        <p:spPr>
          <a:xfrm rot="5400000">
            <a:off x="7752556" y="4018757"/>
            <a:ext cx="442913" cy="1835150"/>
          </a:xfrm>
          <a:prstGeom prst="rightBrace">
            <a:avLst/>
          </a:prstGeom>
        </p:spPr>
        <p:style>
          <a:lnRef idx="1">
            <a:schemeClr val="accent1"/>
          </a:lnRef>
          <a:fillRef idx="0">
            <a:schemeClr val="accent1"/>
          </a:fillRef>
          <a:effectRef idx="0">
            <a:schemeClr val="accent1"/>
          </a:effectRef>
          <a:fontRef idx="minor">
            <a:schemeClr val="tx1"/>
          </a:fontRef>
        </p:style>
        <p:txBody>
          <a:bodyPr lIns="121917" tIns="60958" rIns="121917" bIns="60958" anchor="ctr"/>
          <a:lstStyle/>
          <a:p>
            <a:pPr algn="ctr" defTabSz="913742" fontAlgn="auto">
              <a:spcBef>
                <a:spcPts val="0"/>
              </a:spcBef>
              <a:spcAft>
                <a:spcPts val="0"/>
              </a:spcAft>
              <a:defRPr/>
            </a:pPr>
            <a:endParaRPr lang="zh-CN" altLang="en-US" dirty="0">
              <a:solidFill>
                <a:srgbClr val="000000"/>
              </a:solidFill>
            </a:endParaRPr>
          </a:p>
        </p:txBody>
      </p:sp>
      <p:sp>
        <p:nvSpPr>
          <p:cNvPr id="144390" name="TextBox 3"/>
          <p:cNvSpPr txBox="1">
            <a:spLocks noChangeArrowheads="1"/>
          </p:cNvSpPr>
          <p:nvPr/>
        </p:nvSpPr>
        <p:spPr bwMode="auto">
          <a:xfrm>
            <a:off x="7042150" y="5119688"/>
            <a:ext cx="1863725" cy="400050"/>
          </a:xfrm>
          <a:prstGeom prst="rect">
            <a:avLst/>
          </a:prstGeom>
          <a:noFill/>
          <a:ln w="9525">
            <a:noFill/>
            <a:miter lim="800000"/>
            <a:headEnd/>
            <a:tailEnd/>
          </a:ln>
        </p:spPr>
        <p:txBody>
          <a:bodyPr lIns="121917" tIns="60958" rIns="121917" bIns="60958">
            <a:spAutoFit/>
          </a:bodyPr>
          <a:lstStyle/>
          <a:p>
            <a:pPr algn="ctr"/>
            <a:r>
              <a:rPr lang="zh-CN" altLang="en-US" b="1">
                <a:solidFill>
                  <a:srgbClr val="000000"/>
                </a:solidFill>
                <a:latin typeface="Calibri Light"/>
                <a:ea typeface="微软雅黑" pitchFamily="34" charset="-122"/>
              </a:rPr>
              <a:t>分众媒体</a:t>
            </a:r>
          </a:p>
        </p:txBody>
      </p:sp>
      <p:sp>
        <p:nvSpPr>
          <p:cNvPr id="8" name="矩形 7"/>
          <p:cNvSpPr/>
          <p:nvPr/>
        </p:nvSpPr>
        <p:spPr>
          <a:xfrm>
            <a:off x="900113" y="1816100"/>
            <a:ext cx="4433887" cy="385603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anchor="ctr"/>
          <a:lstStyle/>
          <a:p>
            <a:pPr algn="ctr" defTabSz="913742" fontAlgn="auto">
              <a:spcBef>
                <a:spcPts val="0"/>
              </a:spcBef>
              <a:spcAft>
                <a:spcPts val="0"/>
              </a:spcAft>
              <a:defRPr/>
            </a:pPr>
            <a:endParaRPr lang="zh-CN" altLang="en-US" dirty="0">
              <a:solidFill>
                <a:srgbClr val="FFFFFF"/>
              </a:solidFill>
            </a:endParaRPr>
          </a:p>
        </p:txBody>
      </p:sp>
      <p:sp>
        <p:nvSpPr>
          <p:cNvPr id="11" name="矩形 10"/>
          <p:cNvSpPr/>
          <p:nvPr/>
        </p:nvSpPr>
        <p:spPr>
          <a:xfrm>
            <a:off x="5937250" y="1816100"/>
            <a:ext cx="4533900" cy="385603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anchor="ctr"/>
          <a:lstStyle/>
          <a:p>
            <a:pPr algn="ctr" defTabSz="913742" fontAlgn="auto">
              <a:spcBef>
                <a:spcPts val="0"/>
              </a:spcBef>
              <a:spcAft>
                <a:spcPts val="0"/>
              </a:spcAft>
              <a:defRPr/>
            </a:pPr>
            <a:endParaRPr lang="zh-CN" altLang="en-US" dirty="0">
              <a:solidFill>
                <a:srgbClr val="FFFFFF"/>
              </a:solidFill>
            </a:endParaRPr>
          </a:p>
        </p:txBody>
      </p:sp>
      <p:sp>
        <p:nvSpPr>
          <p:cNvPr id="12" name="矩形 11"/>
          <p:cNvSpPr/>
          <p:nvPr/>
        </p:nvSpPr>
        <p:spPr>
          <a:xfrm>
            <a:off x="898525" y="5622925"/>
            <a:ext cx="4435475" cy="542925"/>
          </a:xfrm>
          <a:prstGeom prst="rect">
            <a:avLst/>
          </a:prstGeom>
          <a:solidFill>
            <a:schemeClr val="tx1">
              <a:lumMod val="50000"/>
              <a:lumOff val="50000"/>
            </a:schemeClr>
          </a:solidFill>
        </p:spPr>
        <p:txBody>
          <a:bodyPr lIns="111107" tIns="55553" rIns="111107" bIns="55553">
            <a:spAutoFit/>
          </a:bodyPr>
          <a:lstStyle/>
          <a:p>
            <a:pPr algn="ctr" defTabSz="913742" fontAlgn="auto">
              <a:spcBef>
                <a:spcPts val="0"/>
              </a:spcBef>
              <a:spcAft>
                <a:spcPts val="0"/>
              </a:spcAft>
              <a:defRPr/>
            </a:pPr>
            <a:r>
              <a:rPr lang="zh-CN" altLang="en-US" sz="1700" b="1" dirty="0">
                <a:solidFill>
                  <a:srgbClr val="FFFFFF"/>
                </a:solidFill>
                <a:latin typeface="微软雅黑" panose="020B0503020204020204" pitchFamily="34" charset="-122"/>
                <a:ea typeface="+mn-ea"/>
              </a:rPr>
              <a:t>传统媒体整体同比下降</a:t>
            </a:r>
            <a:r>
              <a:rPr lang="en-US" altLang="zh-CN" sz="2800" b="1" dirty="0">
                <a:solidFill>
                  <a:srgbClr val="FFFFFF"/>
                </a:solidFill>
                <a:latin typeface="微软雅黑" panose="020B0503020204020204" pitchFamily="34" charset="-122"/>
                <a:ea typeface="+mn-ea"/>
              </a:rPr>
              <a:t>6.2%</a:t>
            </a:r>
            <a:endParaRPr lang="zh-CN" altLang="en-US" sz="1700" b="1" dirty="0">
              <a:solidFill>
                <a:srgbClr val="FFFFFF"/>
              </a:solidFill>
              <a:latin typeface="微软雅黑" panose="020B0503020204020204" pitchFamily="34" charset="-122"/>
              <a:ea typeface="+mn-ea"/>
            </a:endParaRPr>
          </a:p>
        </p:txBody>
      </p:sp>
      <p:sp>
        <p:nvSpPr>
          <p:cNvPr id="13" name="矩形 12"/>
          <p:cNvSpPr/>
          <p:nvPr/>
        </p:nvSpPr>
        <p:spPr>
          <a:xfrm>
            <a:off x="5943600" y="5622925"/>
            <a:ext cx="4527550" cy="542925"/>
          </a:xfrm>
          <a:prstGeom prst="rect">
            <a:avLst/>
          </a:prstGeom>
          <a:solidFill>
            <a:schemeClr val="tx1">
              <a:lumMod val="50000"/>
              <a:lumOff val="50000"/>
            </a:schemeClr>
          </a:solidFill>
        </p:spPr>
        <p:txBody>
          <a:bodyPr lIns="111107" tIns="55553" rIns="111107" bIns="55553">
            <a:spAutoFit/>
          </a:bodyPr>
          <a:lstStyle/>
          <a:p>
            <a:pPr algn="ctr" defTabSz="913742" fontAlgn="auto">
              <a:spcBef>
                <a:spcPts val="0"/>
              </a:spcBef>
              <a:spcAft>
                <a:spcPts val="0"/>
              </a:spcAft>
              <a:defRPr/>
            </a:pPr>
            <a:r>
              <a:rPr lang="zh-CN" altLang="en-US" sz="1700" b="1" dirty="0">
                <a:solidFill>
                  <a:srgbClr val="FFFFFF"/>
                </a:solidFill>
                <a:latin typeface="微软雅黑" panose="020B0503020204020204" pitchFamily="34" charset="-122"/>
                <a:ea typeface="+mn-ea"/>
              </a:rPr>
              <a:t>新数字媒体整体同比</a:t>
            </a:r>
            <a:r>
              <a:rPr lang="en-US" altLang="zh-CN" sz="1700" b="1" dirty="0">
                <a:solidFill>
                  <a:srgbClr val="FFFFFF"/>
                </a:solidFill>
                <a:latin typeface="微软雅黑" panose="020B0503020204020204" pitchFamily="34" charset="-122"/>
                <a:ea typeface="+mn-ea"/>
              </a:rPr>
              <a:t>+</a:t>
            </a:r>
            <a:r>
              <a:rPr lang="en-US" altLang="zh-CN" sz="2800" b="1" dirty="0">
                <a:solidFill>
                  <a:srgbClr val="FFFFFF"/>
                </a:solidFill>
                <a:latin typeface="微软雅黑" panose="020B0503020204020204" pitchFamily="34" charset="-122"/>
                <a:ea typeface="+mn-ea"/>
              </a:rPr>
              <a:t>21.4%</a:t>
            </a:r>
            <a:endParaRPr lang="zh-CN" altLang="en-US" sz="2800" b="1" dirty="0">
              <a:solidFill>
                <a:srgbClr val="FFFFFF"/>
              </a:solidFill>
              <a:latin typeface="微软雅黑" panose="020B0503020204020204" pitchFamily="34" charset="-122"/>
              <a:ea typeface="+mn-ea"/>
            </a:endParaRPr>
          </a:p>
        </p:txBody>
      </p:sp>
      <p:graphicFrame>
        <p:nvGraphicFramePr>
          <p:cNvPr id="144395" name="图表 13"/>
          <p:cNvGraphicFramePr>
            <a:graphicFrameLocks/>
          </p:cNvGraphicFramePr>
          <p:nvPr/>
        </p:nvGraphicFramePr>
        <p:xfrm>
          <a:off x="6045200" y="2011363"/>
          <a:ext cx="4202113" cy="2835275"/>
        </p:xfrm>
        <a:graphic>
          <a:graphicData uri="http://schemas.openxmlformats.org/presentationml/2006/ole">
            <p:oleObj spid="_x0000_s144395" r:id="rId4" imgW="4200508" imgH="2834886" progId="Excel.Chart.8">
              <p:embed/>
            </p:oleObj>
          </a:graphicData>
        </a:graphic>
      </p:graphicFrame>
      <p:graphicFrame>
        <p:nvGraphicFramePr>
          <p:cNvPr id="144396" name="图表 14"/>
          <p:cNvGraphicFramePr>
            <a:graphicFrameLocks/>
          </p:cNvGraphicFramePr>
          <p:nvPr/>
        </p:nvGraphicFramePr>
        <p:xfrm>
          <a:off x="1016000" y="2173288"/>
          <a:ext cx="4202113" cy="2835275"/>
        </p:xfrm>
        <a:graphic>
          <a:graphicData uri="http://schemas.openxmlformats.org/presentationml/2006/ole">
            <p:oleObj spid="_x0000_s144396" r:id="rId5" imgW="4200508" imgH="2840982" progId="Excel.Chart.8">
              <p:embed/>
            </p:oleObj>
          </a:graphicData>
        </a:graphic>
      </p:graphicFrame>
    </p:spTree>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a:spLocks noGrp="1"/>
          </p:cNvSpPr>
          <p:nvPr>
            <p:ph type="title"/>
          </p:nvPr>
        </p:nvSpPr>
        <p:spPr>
          <a:xfrm>
            <a:off x="684213" y="238125"/>
            <a:ext cx="10566400" cy="582613"/>
          </a:xfrm>
        </p:spPr>
        <p:txBody>
          <a:bodyPr/>
          <a:lstStyle/>
          <a:p>
            <a:pPr algn="ctr" defTabSz="914309" fontAlgn="auto">
              <a:spcAft>
                <a:spcPts val="0"/>
              </a:spcAft>
              <a:defRPr/>
            </a:pPr>
            <a:r>
              <a:rPr lang="zh-CN" altLang="en-US" sz="3100" dirty="0"/>
              <a:t>媒体环境</a:t>
            </a:r>
            <a:r>
              <a:rPr lang="zh-CN" altLang="en-US" sz="3100" dirty="0" smtClean="0"/>
              <a:t>的改变</a:t>
            </a:r>
            <a:endParaRPr lang="zh-CN" altLang="en-US" sz="3100" dirty="0">
              <a:solidFill>
                <a:schemeClr val="accent5"/>
              </a:solidFill>
            </a:endParaRPr>
          </a:p>
        </p:txBody>
      </p:sp>
      <p:pic>
        <p:nvPicPr>
          <p:cNvPr id="146434" name="Picture 2" descr="C:\Users\ADMIN\Desktop\h8TMGHp1dUN14fLPZWl0BQ==_7916741005708338230.jpg"/>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1774825" y="1316038"/>
            <a:ext cx="7739063" cy="3030537"/>
          </a:xfrm>
          <a:prstGeom prst="rect">
            <a:avLst/>
          </a:prstGeom>
          <a:noFill/>
          <a:ln w="9525">
            <a:noFill/>
            <a:miter lim="800000"/>
            <a:headEnd/>
            <a:tailEnd/>
          </a:ln>
        </p:spPr>
      </p:pic>
      <p:sp>
        <p:nvSpPr>
          <p:cNvPr id="4" name="内容占位符 2"/>
          <p:cNvSpPr txBox="1">
            <a:spLocks/>
          </p:cNvSpPr>
          <p:nvPr/>
        </p:nvSpPr>
        <p:spPr>
          <a:xfrm>
            <a:off x="690563" y="809625"/>
            <a:ext cx="10945812" cy="738188"/>
          </a:xfrm>
          <a:prstGeom prst="rect">
            <a:avLst/>
          </a:prstGeom>
        </p:spPr>
        <p:txBody>
          <a:bodyPr lIns="91428" tIns="45715" rIns="91428" bIns="45715">
            <a:spAutoFit/>
          </a:bodyPr>
          <a:lstStyle>
            <a:lvl1pPr marL="267863" indent="-267863" algn="just" defTabSz="685729" rtl="0" eaLnBrk="1" latinLnBrk="0" hangingPunct="1">
              <a:lnSpc>
                <a:spcPct val="110000"/>
              </a:lnSpc>
              <a:spcBef>
                <a:spcPts val="1350"/>
              </a:spcBef>
              <a:spcAft>
                <a:spcPts val="0"/>
              </a:spcAft>
              <a:buClr>
                <a:schemeClr val="accent1"/>
              </a:buClr>
              <a:buSzPct val="80000"/>
              <a:buFont typeface="Wingdings 2" panose="05020102010507070707" pitchFamily="18" charset="2"/>
              <a:buChar char="÷"/>
              <a:defRPr sz="2400" kern="1200" baseline="0">
                <a:solidFill>
                  <a:schemeClr val="accent1">
                    <a:lumMod val="60000"/>
                    <a:lumOff val="40000"/>
                  </a:schemeClr>
                </a:solidFill>
                <a:latin typeface="+mj-ea"/>
                <a:ea typeface="+mj-ea"/>
                <a:cs typeface="+mn-cs"/>
              </a:defRPr>
            </a:lvl1pPr>
            <a:lvl2pPr marL="267863" indent="-267863" algn="just" defTabSz="685729" rtl="0" eaLnBrk="1" latinLnBrk="0" hangingPunct="1">
              <a:lnSpc>
                <a:spcPct val="150000"/>
              </a:lnSpc>
              <a:spcBef>
                <a:spcPts val="0"/>
              </a:spcBef>
              <a:spcAft>
                <a:spcPts val="450"/>
              </a:spcAft>
              <a:buClr>
                <a:schemeClr val="accent2">
                  <a:lumMod val="60000"/>
                  <a:lumOff val="40000"/>
                </a:schemeClr>
              </a:buClr>
              <a:buFont typeface="新宋体" panose="02010609030101010101" pitchFamily="49" charset="-122"/>
              <a:buChar char=" "/>
              <a:defRPr sz="1800" kern="1200" baseline="0">
                <a:solidFill>
                  <a:schemeClr val="tx1"/>
                </a:solidFill>
                <a:latin typeface="+mn-ea"/>
                <a:ea typeface="+mn-ea"/>
                <a:cs typeface="+mn-cs"/>
              </a:defRPr>
            </a:lvl2pPr>
            <a:lvl3pPr marL="857161" indent="-171432" algn="l" defTabSz="68572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26" indent="-171432" algn="l" defTabSz="685729"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4pPr>
            <a:lvl5pPr marL="1542890" indent="-171432" algn="l" defTabSz="685729"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5pPr>
            <a:lvl6pPr marL="1885754" indent="-171432" algn="l" defTabSz="685729"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619" indent="-171432" algn="l" defTabSz="685729"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483" indent="-171432" algn="l" defTabSz="685729"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348" indent="-171432" algn="l" defTabSz="685729"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marL="0" indent="0" algn="ctr" fontAlgn="auto">
              <a:lnSpc>
                <a:spcPct val="150000"/>
              </a:lnSpc>
              <a:buClr>
                <a:srgbClr val="1198EB"/>
              </a:buClr>
              <a:buFont typeface="Wingdings 2" panose="05020102010507070707" pitchFamily="18" charset="2"/>
              <a:buNone/>
              <a:defRPr/>
            </a:pPr>
            <a:r>
              <a:rPr lang="zh-CN" altLang="en-US" sz="3100" dirty="0">
                <a:solidFill>
                  <a:schemeClr val="tx1"/>
                </a:solidFill>
                <a:latin typeface="+mj-lt"/>
                <a:cs typeface="+mj-cs"/>
              </a:rPr>
              <a:t>信息粉尘化的时代来临</a:t>
            </a:r>
            <a:endParaRPr lang="en-US" altLang="zh-CN" sz="3100" dirty="0">
              <a:solidFill>
                <a:schemeClr val="tx1"/>
              </a:solidFill>
              <a:latin typeface="+mj-lt"/>
              <a:cs typeface="+mj-cs"/>
            </a:endParaRPr>
          </a:p>
        </p:txBody>
      </p:sp>
      <p:sp>
        <p:nvSpPr>
          <p:cNvPr id="5" name="内容占位符 2"/>
          <p:cNvSpPr txBox="1">
            <a:spLocks/>
          </p:cNvSpPr>
          <p:nvPr/>
        </p:nvSpPr>
        <p:spPr bwMode="auto">
          <a:xfrm>
            <a:off x="200025" y="4484688"/>
            <a:ext cx="11791950" cy="1519237"/>
          </a:xfrm>
          <a:prstGeom prst="rect">
            <a:avLst/>
          </a:prstGeom>
          <a:noFill/>
          <a:ln w="9525">
            <a:noFill/>
            <a:miter lim="800000"/>
            <a:headEnd/>
            <a:tailEnd/>
          </a:ln>
        </p:spPr>
        <p:txBody>
          <a:bodyPr lIns="91428" tIns="45715" rIns="91428" bIns="45715">
            <a:spAutoFit/>
          </a:bodyPr>
          <a:lstStyle/>
          <a:p>
            <a:pPr algn="ctr" defTabSz="684213">
              <a:lnSpc>
                <a:spcPct val="150000"/>
              </a:lnSpc>
              <a:spcBef>
                <a:spcPts val="1350"/>
              </a:spcBef>
              <a:buClr>
                <a:srgbClr val="1198EB"/>
              </a:buClr>
              <a:buSzPct val="80000"/>
              <a:buFont typeface="Wingdings 2" pitchFamily="18" charset="2"/>
              <a:buNone/>
            </a:pPr>
            <a:r>
              <a:rPr lang="zh-CN" altLang="en-US" sz="2700" b="1">
                <a:solidFill>
                  <a:srgbClr val="FF0000"/>
                </a:solidFill>
                <a:latin typeface="微软雅黑" pitchFamily="34" charset="-122"/>
                <a:ea typeface="微软雅黑" pitchFamily="34" charset="-122"/>
              </a:rPr>
              <a:t>主流人群逐渐疏离电视</a:t>
            </a:r>
            <a:endParaRPr lang="en-US" altLang="zh-CN" sz="2700" b="1">
              <a:solidFill>
                <a:srgbClr val="FF0000"/>
              </a:solidFill>
              <a:latin typeface="微软雅黑" pitchFamily="34" charset="-122"/>
              <a:ea typeface="微软雅黑" pitchFamily="34" charset="-122"/>
            </a:endParaRPr>
          </a:p>
          <a:p>
            <a:pPr algn="ctr" defTabSz="684213">
              <a:lnSpc>
                <a:spcPct val="150000"/>
              </a:lnSpc>
              <a:spcBef>
                <a:spcPts val="1350"/>
              </a:spcBef>
              <a:buClr>
                <a:srgbClr val="1198EB"/>
              </a:buClr>
              <a:buSzPct val="80000"/>
              <a:buFont typeface="Wingdings 2" pitchFamily="18" charset="2"/>
              <a:buNone/>
            </a:pPr>
            <a:r>
              <a:rPr lang="zh-CN" altLang="en-US" sz="2700" b="1">
                <a:solidFill>
                  <a:srgbClr val="FF0000"/>
                </a:solidFill>
                <a:latin typeface="微软雅黑" pitchFamily="34" charset="-122"/>
                <a:ea typeface="微软雅黑" pitchFamily="34" charset="-122"/>
              </a:rPr>
              <a:t>互联网上资讯太多且消费者忽略广告</a:t>
            </a:r>
            <a:endParaRPr lang="en-US" altLang="zh-CN" sz="2700" b="1">
              <a:solidFill>
                <a:srgbClr val="FF0000"/>
              </a:solidFill>
              <a:latin typeface="微软雅黑" pitchFamily="34" charset="-122"/>
              <a:ea typeface="微软雅黑"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7" name="标题 1"/>
          <p:cNvSpPr>
            <a:spLocks noGrp="1"/>
          </p:cNvSpPr>
          <p:nvPr>
            <p:ph type="title"/>
          </p:nvPr>
        </p:nvSpPr>
        <p:spPr bwMode="auto">
          <a:xfrm>
            <a:off x="614363" y="1033463"/>
            <a:ext cx="10963275" cy="620712"/>
          </a:xfrm>
          <a:noFill/>
          <a:ln>
            <a:miter lim="800000"/>
            <a:headEnd/>
            <a:tailEnd/>
          </a:ln>
        </p:spPr>
        <p:txBody>
          <a:bodyPr wrap="square" numCol="1" anchorCtr="0" compatLnSpc="1">
            <a:prstTxWarp prst="textNoShape">
              <a:avLst/>
            </a:prstTxWarp>
          </a:bodyPr>
          <a:lstStyle/>
          <a:p>
            <a:pPr algn="ctr"/>
            <a:r>
              <a:rPr lang="zh-CN" altLang="en-US" sz="5500" smtClean="0">
                <a:ea typeface="黑体" pitchFamily="49" charset="-122"/>
              </a:rPr>
              <a:t>资讯模式变化</a:t>
            </a:r>
            <a:endParaRPr lang="zh-CN" altLang="en-US" sz="4800" smtClean="0"/>
          </a:p>
        </p:txBody>
      </p:sp>
      <p:pic>
        <p:nvPicPr>
          <p:cNvPr id="4" name="图片 3"/>
          <p:cNvPicPr>
            <a:picLocks noChangeAspect="1"/>
          </p:cNvPicPr>
          <p:nvPr/>
        </p:nvPicPr>
        <p:blipFill>
          <a:blip r:embed="rId2"/>
          <a:srcRect/>
          <a:stretch>
            <a:fillRect/>
          </a:stretch>
        </p:blipFill>
        <p:spPr bwMode="auto">
          <a:xfrm>
            <a:off x="1022350" y="2020888"/>
            <a:ext cx="10477500" cy="4208462"/>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Footer Placeholder 7"/>
          <p:cNvSpPr>
            <a:spLocks noGrp="1"/>
          </p:cNvSpPr>
          <p:nvPr>
            <p:ph type="ftr" sz="quarter" idx="4294967295"/>
          </p:nvPr>
        </p:nvSpPr>
        <p:spPr bwMode="auto">
          <a:xfrm>
            <a:off x="7321550" y="6438900"/>
            <a:ext cx="4822825" cy="365125"/>
          </a:xfrm>
          <a:prstGeom prst="rect">
            <a:avLst/>
          </a:prstGeom>
          <a:noFill/>
          <a:ln>
            <a:miter lim="800000"/>
            <a:headEnd/>
            <a:tailEnd/>
          </a:ln>
        </p:spPr>
        <p:txBody>
          <a:bodyPr/>
          <a:lstStyle/>
          <a:p>
            <a:pPr algn="r"/>
            <a:endParaRPr lang="en-US" altLang="zh-CN" sz="1400">
              <a:solidFill>
                <a:srgbClr val="FFFFFF"/>
              </a:solidFill>
              <a:latin typeface="华文隶书"/>
              <a:ea typeface="华文隶书"/>
              <a:cs typeface="华文隶书"/>
            </a:endParaRPr>
          </a:p>
        </p:txBody>
      </p:sp>
      <p:sp>
        <p:nvSpPr>
          <p:cNvPr id="41986" name="矩形 1"/>
          <p:cNvSpPr>
            <a:spLocks noChangeArrowheads="1"/>
          </p:cNvSpPr>
          <p:nvPr/>
        </p:nvSpPr>
        <p:spPr bwMode="auto">
          <a:xfrm>
            <a:off x="1225550" y="798513"/>
            <a:ext cx="10599738" cy="4310062"/>
          </a:xfrm>
          <a:prstGeom prst="rect">
            <a:avLst/>
          </a:prstGeom>
          <a:noFill/>
          <a:ln w="9525">
            <a:noFill/>
            <a:miter lim="800000"/>
            <a:headEnd/>
            <a:tailEnd/>
          </a:ln>
        </p:spPr>
        <p:txBody>
          <a:bodyPr>
            <a:spAutoFit/>
          </a:bodyPr>
          <a:lstStyle/>
          <a:p>
            <a:r>
              <a:rPr lang="zh-CN" altLang="en-US" sz="4000" b="1">
                <a:solidFill>
                  <a:srgbClr val="FF0000"/>
                </a:solidFill>
                <a:latin typeface="Calibri Light"/>
                <a:ea typeface="微软雅黑" pitchFamily="34" charset="-122"/>
              </a:rPr>
              <a:t>你必须在消费者心智中有个清晰的简单的词</a:t>
            </a:r>
            <a:endParaRPr lang="en-US" altLang="zh-CN" sz="4000" b="1">
              <a:solidFill>
                <a:srgbClr val="FF0000"/>
              </a:solidFill>
              <a:latin typeface="Calibri Light"/>
              <a:ea typeface="微软雅黑" pitchFamily="34" charset="-122"/>
            </a:endParaRPr>
          </a:p>
          <a:p>
            <a:endParaRPr lang="en-US" altLang="zh-CN">
              <a:latin typeface="Calibri Light"/>
              <a:ea typeface="微软雅黑" pitchFamily="34" charset="-122"/>
            </a:endParaRPr>
          </a:p>
          <a:p>
            <a:pPr>
              <a:lnSpc>
                <a:spcPct val="150000"/>
              </a:lnSpc>
            </a:pPr>
            <a:r>
              <a:rPr lang="zh-CN" altLang="en-US" sz="2400">
                <a:latin typeface="Calibri Light"/>
                <a:ea typeface="微软雅黑" pitchFamily="34" charset="-122"/>
              </a:rPr>
              <a:t>哈弗是平价</a:t>
            </a:r>
            <a:r>
              <a:rPr lang="en-US" altLang="zh-CN" sz="2400">
                <a:latin typeface="Calibri Light"/>
                <a:ea typeface="微软雅黑" pitchFamily="34" charset="-122"/>
              </a:rPr>
              <a:t>SUV</a:t>
            </a:r>
            <a:r>
              <a:rPr lang="zh-CN" altLang="en-US" sz="2400">
                <a:latin typeface="Calibri Light"/>
                <a:ea typeface="微软雅黑" pitchFamily="34" charset="-122"/>
              </a:rPr>
              <a:t>，奔驰是尊贵，宝马是驾驶乐趣，奥迪是公务，沃尔沃是安全，特斯拉是电动，法拉利是速度，</a:t>
            </a:r>
            <a:r>
              <a:rPr lang="en-US" altLang="zh-CN" sz="2400">
                <a:latin typeface="Calibri Light"/>
                <a:ea typeface="微软雅黑" pitchFamily="34" charset="-122"/>
              </a:rPr>
              <a:t>Jeep</a:t>
            </a:r>
            <a:r>
              <a:rPr lang="zh-CN" altLang="en-US" sz="2400">
                <a:latin typeface="Calibri Light"/>
                <a:ea typeface="微软雅黑" pitchFamily="34" charset="-122"/>
              </a:rPr>
              <a:t>是越野，其他对手很难抢走这些专属名词</a:t>
            </a:r>
            <a:endParaRPr lang="en-US" altLang="zh-CN" sz="2400">
              <a:latin typeface="Calibri Light"/>
              <a:ea typeface="微软雅黑" pitchFamily="34" charset="-122"/>
            </a:endParaRPr>
          </a:p>
          <a:p>
            <a:pPr>
              <a:lnSpc>
                <a:spcPct val="150000"/>
              </a:lnSpc>
            </a:pPr>
            <a:endParaRPr lang="en-US" altLang="zh-CN" sz="2400">
              <a:latin typeface="Calibri Light"/>
              <a:ea typeface="微软雅黑" pitchFamily="34" charset="-122"/>
            </a:endParaRPr>
          </a:p>
          <a:p>
            <a:pPr>
              <a:lnSpc>
                <a:spcPct val="150000"/>
              </a:lnSpc>
            </a:pPr>
            <a:r>
              <a:rPr lang="zh-CN" altLang="en-US" sz="2400">
                <a:latin typeface="Calibri Light"/>
                <a:ea typeface="微软雅黑" pitchFamily="34" charset="-122"/>
              </a:rPr>
              <a:t>即使你宣称技术更佳，品质更好，团队更优秀，不具备与竞争对手相区别的品牌认知，你就很容易陷入价格战，促销战，流量战。 因为顾客在缺乏专业能力和信息不对称的情况下做出决策，你必须给他一个简单的理由</a:t>
            </a:r>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14" name="标题 2"/>
          <p:cNvSpPr>
            <a:spLocks noGrp="1"/>
          </p:cNvSpPr>
          <p:nvPr>
            <p:ph type="title"/>
          </p:nvPr>
        </p:nvSpPr>
        <p:spPr bwMode="auto">
          <a:xfrm>
            <a:off x="838200" y="295275"/>
            <a:ext cx="9253538" cy="666750"/>
          </a:xfrm>
          <a:noFill/>
          <a:ln>
            <a:miter lim="800000"/>
            <a:headEnd/>
            <a:tailEnd/>
          </a:ln>
        </p:spPr>
        <p:txBody>
          <a:bodyPr wrap="square" numCol="1" anchorCtr="0" compatLnSpc="1">
            <a:prstTxWarp prst="textNoShape">
              <a:avLst/>
            </a:prstTxWarp>
          </a:bodyPr>
          <a:lstStyle/>
          <a:p>
            <a:r>
              <a:rPr lang="zh-CN" altLang="en-US" sz="3600" smtClean="0"/>
              <a:t>风向标人群与电视媒体渐行渐远</a:t>
            </a:r>
          </a:p>
        </p:txBody>
      </p:sp>
      <p:sp>
        <p:nvSpPr>
          <p:cNvPr id="12315" name="灯片编号占位符 4"/>
          <p:cNvSpPr>
            <a:spLocks noGrp="1"/>
          </p:cNvSpPr>
          <p:nvPr>
            <p:ph type="sldNum" sz="quarter" idx="4294967295"/>
          </p:nvPr>
        </p:nvSpPr>
        <p:spPr bwMode="auto">
          <a:xfrm>
            <a:off x="1479550" y="6232525"/>
            <a:ext cx="828675" cy="144463"/>
          </a:xfrm>
          <a:prstGeom prst="rect">
            <a:avLst/>
          </a:prstGeom>
          <a:noFill/>
          <a:ln>
            <a:miter lim="800000"/>
            <a:headEnd/>
            <a:tailEnd/>
          </a:ln>
        </p:spPr>
        <p:txBody>
          <a:bodyPr lIns="91438" tIns="45719" rIns="91438" bIns="45719"/>
          <a:lstStyle/>
          <a:p>
            <a:r>
              <a:rPr lang="en-US" altLang="zh-CN">
                <a:solidFill>
                  <a:srgbClr val="595959"/>
                </a:solidFill>
                <a:latin typeface="Calibri Light"/>
                <a:ea typeface="微软雅黑" pitchFamily="34" charset="-122"/>
              </a:rPr>
              <a:t>P </a:t>
            </a:r>
            <a:fld id="{90D507F2-BB4F-4473-A9B9-F0062FF3539A}" type="slidenum">
              <a:rPr lang="zh-CN" altLang="en-US">
                <a:solidFill>
                  <a:srgbClr val="595959"/>
                </a:solidFill>
                <a:latin typeface="Calibri Light"/>
                <a:ea typeface="微软雅黑" pitchFamily="34" charset="-122"/>
              </a:rPr>
              <a:pPr/>
              <a:t>80</a:t>
            </a:fld>
            <a:endParaRPr lang="en-US" altLang="zh-CN">
              <a:solidFill>
                <a:srgbClr val="595959"/>
              </a:solidFill>
              <a:latin typeface="Calibri Light"/>
              <a:ea typeface="微软雅黑" pitchFamily="34" charset="-122"/>
            </a:endParaRPr>
          </a:p>
        </p:txBody>
      </p:sp>
      <p:sp>
        <p:nvSpPr>
          <p:cNvPr id="12316" name="矩形 5"/>
          <p:cNvSpPr>
            <a:spLocks noChangeArrowheads="1"/>
          </p:cNvSpPr>
          <p:nvPr/>
        </p:nvSpPr>
        <p:spPr bwMode="auto">
          <a:xfrm>
            <a:off x="584200" y="6096000"/>
            <a:ext cx="5715000" cy="261938"/>
          </a:xfrm>
          <a:prstGeom prst="rect">
            <a:avLst/>
          </a:prstGeom>
          <a:noFill/>
          <a:ln w="9525">
            <a:noFill/>
            <a:miter lim="800000"/>
            <a:headEnd/>
            <a:tailEnd/>
          </a:ln>
        </p:spPr>
        <p:txBody>
          <a:bodyPr lIns="91438" tIns="45719" rIns="91438" bIns="45719">
            <a:spAutoFit/>
          </a:bodyPr>
          <a:lstStyle/>
          <a:p>
            <a:r>
              <a:rPr lang="zh-CN" altLang="en-US" sz="1100">
                <a:solidFill>
                  <a:srgbClr val="FFFFFF"/>
                </a:solidFill>
                <a:latin typeface="微软雅黑" pitchFamily="34" charset="-122"/>
                <a:ea typeface="微软雅黑" pitchFamily="34" charset="-122"/>
              </a:rPr>
              <a:t>数据来源：</a:t>
            </a:r>
            <a:r>
              <a:rPr lang="en-US" altLang="zh-CN" sz="1100">
                <a:solidFill>
                  <a:srgbClr val="FFFFFF"/>
                </a:solidFill>
                <a:latin typeface="微软雅黑" pitchFamily="34" charset="-122"/>
                <a:ea typeface="微软雅黑" pitchFamily="34" charset="-122"/>
              </a:rPr>
              <a:t>CSM</a:t>
            </a:r>
            <a:r>
              <a:rPr lang="zh-CN" altLang="en-US" sz="1100">
                <a:solidFill>
                  <a:srgbClr val="FFFFFF"/>
                </a:solidFill>
                <a:latin typeface="微软雅黑" pitchFamily="34" charset="-122"/>
                <a:ea typeface="微软雅黑" pitchFamily="34" charset="-122"/>
              </a:rPr>
              <a:t>（央视索福瑞）</a:t>
            </a:r>
            <a:r>
              <a:rPr lang="en-US" altLang="zh-CN" sz="1100">
                <a:solidFill>
                  <a:srgbClr val="FFFFFF"/>
                </a:solidFill>
                <a:latin typeface="微软雅黑" pitchFamily="34" charset="-122"/>
                <a:ea typeface="微软雅黑" pitchFamily="34" charset="-122"/>
              </a:rPr>
              <a:t>71</a:t>
            </a:r>
            <a:r>
              <a:rPr lang="zh-CN" altLang="en-US" sz="1100">
                <a:solidFill>
                  <a:srgbClr val="FFFFFF"/>
                </a:solidFill>
                <a:latin typeface="微软雅黑" pitchFamily="34" charset="-122"/>
                <a:ea typeface="微软雅黑" pitchFamily="34" charset="-122"/>
              </a:rPr>
              <a:t>城市网；</a:t>
            </a:r>
            <a:r>
              <a:rPr lang="en-US" altLang="zh-CN" sz="1100">
                <a:solidFill>
                  <a:srgbClr val="FFFFFF"/>
                </a:solidFill>
                <a:latin typeface="微软雅黑" pitchFamily="34" charset="-122"/>
                <a:ea typeface="微软雅黑" pitchFamily="34" charset="-122"/>
              </a:rPr>
              <a:t>2015</a:t>
            </a:r>
            <a:r>
              <a:rPr lang="zh-CN" altLang="en-US" sz="1100">
                <a:solidFill>
                  <a:srgbClr val="FFFFFF"/>
                </a:solidFill>
                <a:latin typeface="微软雅黑" pitchFamily="34" charset="-122"/>
                <a:ea typeface="微软雅黑" pitchFamily="34" charset="-122"/>
              </a:rPr>
              <a:t>年节目首播收视率</a:t>
            </a:r>
            <a:endParaRPr lang="en-US" altLang="zh-CN" sz="1100">
              <a:solidFill>
                <a:srgbClr val="FFFFFF"/>
              </a:solidFill>
              <a:latin typeface="微软雅黑" pitchFamily="34" charset="-122"/>
              <a:ea typeface="微软雅黑" pitchFamily="34" charset="-122"/>
            </a:endParaRPr>
          </a:p>
        </p:txBody>
      </p:sp>
      <p:sp>
        <p:nvSpPr>
          <p:cNvPr id="12317" name="矩形 6"/>
          <p:cNvSpPr>
            <a:spLocks noChangeArrowheads="1"/>
          </p:cNvSpPr>
          <p:nvPr/>
        </p:nvSpPr>
        <p:spPr bwMode="auto">
          <a:xfrm>
            <a:off x="736600" y="6248400"/>
            <a:ext cx="5715000" cy="261938"/>
          </a:xfrm>
          <a:prstGeom prst="rect">
            <a:avLst/>
          </a:prstGeom>
          <a:noFill/>
          <a:ln w="9525">
            <a:noFill/>
            <a:miter lim="800000"/>
            <a:headEnd/>
            <a:tailEnd/>
          </a:ln>
        </p:spPr>
        <p:txBody>
          <a:bodyPr lIns="91438" tIns="45719" rIns="91438" bIns="45719">
            <a:spAutoFit/>
          </a:bodyPr>
          <a:lstStyle/>
          <a:p>
            <a:r>
              <a:rPr lang="zh-CN" altLang="en-US" sz="1100">
                <a:solidFill>
                  <a:srgbClr val="FFFFFF"/>
                </a:solidFill>
                <a:latin typeface="微软雅黑" pitchFamily="34" charset="-122"/>
                <a:ea typeface="微软雅黑" pitchFamily="34" charset="-122"/>
              </a:rPr>
              <a:t>数据来源：</a:t>
            </a:r>
            <a:r>
              <a:rPr lang="en-US" altLang="zh-CN" sz="1100">
                <a:solidFill>
                  <a:srgbClr val="FFFFFF"/>
                </a:solidFill>
                <a:latin typeface="微软雅黑" pitchFamily="34" charset="-122"/>
                <a:ea typeface="微软雅黑" pitchFamily="34" charset="-122"/>
              </a:rPr>
              <a:t>CSM</a:t>
            </a:r>
            <a:r>
              <a:rPr lang="zh-CN" altLang="en-US" sz="1100">
                <a:solidFill>
                  <a:srgbClr val="FFFFFF"/>
                </a:solidFill>
                <a:latin typeface="微软雅黑" pitchFamily="34" charset="-122"/>
                <a:ea typeface="微软雅黑" pitchFamily="34" charset="-122"/>
              </a:rPr>
              <a:t>（央视索福瑞）</a:t>
            </a:r>
            <a:r>
              <a:rPr lang="en-US" altLang="zh-CN" sz="1100">
                <a:solidFill>
                  <a:srgbClr val="FFFFFF"/>
                </a:solidFill>
                <a:latin typeface="微软雅黑" pitchFamily="34" charset="-122"/>
                <a:ea typeface="微软雅黑" pitchFamily="34" charset="-122"/>
              </a:rPr>
              <a:t>71</a:t>
            </a:r>
            <a:r>
              <a:rPr lang="zh-CN" altLang="en-US" sz="1100">
                <a:solidFill>
                  <a:srgbClr val="FFFFFF"/>
                </a:solidFill>
                <a:latin typeface="微软雅黑" pitchFamily="34" charset="-122"/>
                <a:ea typeface="微软雅黑" pitchFamily="34" charset="-122"/>
              </a:rPr>
              <a:t>城市网；</a:t>
            </a:r>
            <a:r>
              <a:rPr lang="en-US" altLang="zh-CN" sz="1100">
                <a:solidFill>
                  <a:srgbClr val="FFFFFF"/>
                </a:solidFill>
                <a:latin typeface="微软雅黑" pitchFamily="34" charset="-122"/>
                <a:ea typeface="微软雅黑" pitchFamily="34" charset="-122"/>
              </a:rPr>
              <a:t>2015</a:t>
            </a:r>
            <a:r>
              <a:rPr lang="zh-CN" altLang="en-US" sz="1100">
                <a:solidFill>
                  <a:srgbClr val="FFFFFF"/>
                </a:solidFill>
                <a:latin typeface="微软雅黑" pitchFamily="34" charset="-122"/>
                <a:ea typeface="微软雅黑" pitchFamily="34" charset="-122"/>
              </a:rPr>
              <a:t>年节目首播收视率</a:t>
            </a:r>
            <a:endParaRPr lang="en-US" altLang="zh-CN" sz="1100">
              <a:solidFill>
                <a:srgbClr val="FFFFFF"/>
              </a:solidFill>
              <a:latin typeface="微软雅黑" pitchFamily="34" charset="-122"/>
              <a:ea typeface="微软雅黑" pitchFamily="34" charset="-122"/>
            </a:endParaRPr>
          </a:p>
        </p:txBody>
      </p:sp>
      <p:graphicFrame>
        <p:nvGraphicFramePr>
          <p:cNvPr id="12313" name="Object 25"/>
          <p:cNvGraphicFramePr>
            <a:graphicFrameLocks/>
          </p:cNvGraphicFramePr>
          <p:nvPr/>
        </p:nvGraphicFramePr>
        <p:xfrm>
          <a:off x="817563" y="1354138"/>
          <a:ext cx="10309225" cy="4694237"/>
        </p:xfrm>
        <a:graphic>
          <a:graphicData uri="http://schemas.openxmlformats.org/presentationml/2006/ole">
            <p:oleObj spid="_x0000_s12313" name="Worksheet" r:id="rId3" imgW="9401251" imgH="3838651" progId="Excel.Sheet.8">
              <p:embed/>
            </p:oleObj>
          </a:graphicData>
        </a:graphic>
      </p:graphicFrame>
      <p:pic>
        <p:nvPicPr>
          <p:cNvPr id="12318" name="图片 6"/>
          <p:cNvPicPr>
            <a:picLocks noChangeAspect="1"/>
          </p:cNvPicPr>
          <p:nvPr/>
        </p:nvPicPr>
        <p:blipFill>
          <a:blip r:embed="rId4"/>
          <a:srcRect/>
          <a:stretch>
            <a:fillRect/>
          </a:stretch>
        </p:blipFill>
        <p:spPr bwMode="auto">
          <a:xfrm>
            <a:off x="9153525" y="1773238"/>
            <a:ext cx="1701800" cy="2514600"/>
          </a:xfrm>
          <a:prstGeom prst="rect">
            <a:avLst/>
          </a:prstGeom>
          <a:noFill/>
          <a:ln w="9525">
            <a:noFill/>
            <a:miter lim="800000"/>
            <a:headEnd/>
            <a:tailEnd/>
          </a:ln>
        </p:spPr>
      </p:pic>
      <p:sp>
        <p:nvSpPr>
          <p:cNvPr id="12319" name="矩形 10"/>
          <p:cNvSpPr>
            <a:spLocks noChangeArrowheads="1"/>
          </p:cNvSpPr>
          <p:nvPr/>
        </p:nvSpPr>
        <p:spPr bwMode="auto">
          <a:xfrm>
            <a:off x="6299200" y="6380163"/>
            <a:ext cx="5716588" cy="261937"/>
          </a:xfrm>
          <a:prstGeom prst="rect">
            <a:avLst/>
          </a:prstGeom>
          <a:noFill/>
          <a:ln w="9525">
            <a:noFill/>
            <a:miter lim="800000"/>
            <a:headEnd/>
            <a:tailEnd/>
          </a:ln>
        </p:spPr>
        <p:txBody>
          <a:bodyPr lIns="91438" tIns="45719" rIns="91438" bIns="45719">
            <a:spAutoFit/>
          </a:bodyPr>
          <a:lstStyle/>
          <a:p>
            <a:r>
              <a:rPr lang="zh-CN" altLang="en-US" sz="1100">
                <a:solidFill>
                  <a:srgbClr val="7F7F7F"/>
                </a:solidFill>
                <a:latin typeface="微软雅黑" pitchFamily="34" charset="-122"/>
                <a:ea typeface="微软雅黑" pitchFamily="34" charset="-122"/>
              </a:rPr>
              <a:t>数据来源：</a:t>
            </a:r>
            <a:r>
              <a:rPr lang="en-US" altLang="zh-CN" sz="1100">
                <a:solidFill>
                  <a:srgbClr val="7F7F7F"/>
                </a:solidFill>
                <a:latin typeface="微软雅黑" pitchFamily="34" charset="-122"/>
                <a:ea typeface="微软雅黑" pitchFamily="34" charset="-122"/>
              </a:rPr>
              <a:t>CSM</a:t>
            </a:r>
            <a:r>
              <a:rPr lang="zh-CN" altLang="en-US" sz="1100">
                <a:solidFill>
                  <a:srgbClr val="7F7F7F"/>
                </a:solidFill>
                <a:latin typeface="微软雅黑" pitchFamily="34" charset="-122"/>
                <a:ea typeface="微软雅黑" pitchFamily="34" charset="-122"/>
              </a:rPr>
              <a:t>（央视索福瑞）</a:t>
            </a:r>
            <a:r>
              <a:rPr lang="en-US" altLang="zh-CN" sz="1100">
                <a:solidFill>
                  <a:srgbClr val="7F7F7F"/>
                </a:solidFill>
                <a:latin typeface="微软雅黑" pitchFamily="34" charset="-122"/>
                <a:ea typeface="微软雅黑" pitchFamily="34" charset="-122"/>
              </a:rPr>
              <a:t>71</a:t>
            </a:r>
            <a:r>
              <a:rPr lang="zh-CN" altLang="en-US" sz="1100">
                <a:solidFill>
                  <a:srgbClr val="7F7F7F"/>
                </a:solidFill>
                <a:latin typeface="微软雅黑" pitchFamily="34" charset="-122"/>
                <a:ea typeface="微软雅黑" pitchFamily="34" charset="-122"/>
              </a:rPr>
              <a:t>城市网；</a:t>
            </a:r>
            <a:r>
              <a:rPr lang="en-US" altLang="zh-CN" sz="1100">
                <a:solidFill>
                  <a:srgbClr val="7F7F7F"/>
                </a:solidFill>
                <a:latin typeface="微软雅黑" pitchFamily="34" charset="-122"/>
                <a:ea typeface="微软雅黑" pitchFamily="34" charset="-122"/>
              </a:rPr>
              <a:t>2015</a:t>
            </a:r>
            <a:r>
              <a:rPr lang="zh-CN" altLang="en-US" sz="1100">
                <a:solidFill>
                  <a:srgbClr val="7F7F7F"/>
                </a:solidFill>
                <a:latin typeface="微软雅黑" pitchFamily="34" charset="-122"/>
                <a:ea typeface="微软雅黑" pitchFamily="34" charset="-122"/>
              </a:rPr>
              <a:t>年节目首播收视率</a:t>
            </a:r>
            <a:endParaRPr lang="en-US" altLang="zh-CN" sz="1100">
              <a:solidFill>
                <a:srgbClr val="7F7F7F"/>
              </a:solidFill>
              <a:latin typeface="微软雅黑" pitchFamily="34" charset="-122"/>
              <a:ea typeface="微软雅黑" pitchFamily="34" charset="-122"/>
            </a:endParaRPr>
          </a:p>
        </p:txBody>
      </p:sp>
      <p:sp>
        <p:nvSpPr>
          <p:cNvPr id="12320" name="矩形 11"/>
          <p:cNvSpPr>
            <a:spLocks noChangeArrowheads="1"/>
          </p:cNvSpPr>
          <p:nvPr/>
        </p:nvSpPr>
        <p:spPr bwMode="auto">
          <a:xfrm>
            <a:off x="3143250" y="1736725"/>
            <a:ext cx="4664075" cy="358775"/>
          </a:xfrm>
          <a:prstGeom prst="rect">
            <a:avLst/>
          </a:prstGeom>
          <a:noFill/>
          <a:ln w="9525">
            <a:noFill/>
            <a:miter lim="800000"/>
            <a:headEnd/>
            <a:tailEnd/>
          </a:ln>
        </p:spPr>
        <p:txBody>
          <a:bodyPr wrap="none" lIns="96764" tIns="48383" rIns="96764" bIns="48383">
            <a:spAutoFit/>
          </a:bodyPr>
          <a:lstStyle/>
          <a:p>
            <a:pPr defTabSz="966788" eaLnBrk="0" hangingPunct="0"/>
            <a:r>
              <a:rPr lang="en-US" altLang="zh-CN" sz="1700" b="1">
                <a:solidFill>
                  <a:srgbClr val="7F7F7F"/>
                </a:solidFill>
                <a:latin typeface="微软雅黑" pitchFamily="34" charset="-122"/>
                <a:ea typeface="微软雅黑" pitchFamily="34" charset="-122"/>
              </a:rPr>
              <a:t>2015-2016《</a:t>
            </a:r>
            <a:r>
              <a:rPr lang="zh-CN" altLang="en-US" sz="1700" b="1">
                <a:solidFill>
                  <a:srgbClr val="7F7F7F"/>
                </a:solidFill>
                <a:latin typeface="微软雅黑" pitchFamily="34" charset="-122"/>
                <a:ea typeface="微软雅黑" pitchFamily="34" charset="-122"/>
              </a:rPr>
              <a:t>挑战不可能</a:t>
            </a:r>
            <a:r>
              <a:rPr lang="en-US" altLang="zh-CN" sz="1700" b="1">
                <a:solidFill>
                  <a:srgbClr val="7F7F7F"/>
                </a:solidFill>
                <a:latin typeface="微软雅黑" pitchFamily="34" charset="-122"/>
                <a:ea typeface="微软雅黑" pitchFamily="34" charset="-122"/>
              </a:rPr>
              <a:t>》GRP</a:t>
            </a:r>
            <a:r>
              <a:rPr lang="zh-CN" altLang="en-US" sz="1700" b="1">
                <a:solidFill>
                  <a:srgbClr val="7F7F7F"/>
                </a:solidFill>
                <a:latin typeface="微软雅黑" pitchFamily="34" charset="-122"/>
                <a:ea typeface="微软雅黑" pitchFamily="34" charset="-122"/>
              </a:rPr>
              <a:t>地域分布排名</a:t>
            </a:r>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29" name="标题 2"/>
          <p:cNvSpPr>
            <a:spLocks noGrp="1"/>
          </p:cNvSpPr>
          <p:nvPr>
            <p:ph type="title"/>
          </p:nvPr>
        </p:nvSpPr>
        <p:spPr bwMode="auto">
          <a:xfrm>
            <a:off x="838200" y="295275"/>
            <a:ext cx="9253538" cy="666750"/>
          </a:xfrm>
          <a:noFill/>
          <a:ln>
            <a:miter lim="800000"/>
            <a:headEnd/>
            <a:tailEnd/>
          </a:ln>
        </p:spPr>
        <p:txBody>
          <a:bodyPr wrap="square" numCol="1" anchorCtr="0" compatLnSpc="1">
            <a:prstTxWarp prst="textNoShape">
              <a:avLst/>
            </a:prstTxWarp>
          </a:bodyPr>
          <a:lstStyle/>
          <a:p>
            <a:r>
              <a:rPr lang="zh-CN" altLang="en-US" sz="3600" smtClean="0"/>
              <a:t>风向标人群与电视媒体渐行渐远</a:t>
            </a:r>
          </a:p>
        </p:txBody>
      </p:sp>
      <p:sp>
        <p:nvSpPr>
          <p:cNvPr id="150530" name="灯片编号占位符 4"/>
          <p:cNvSpPr>
            <a:spLocks noGrp="1"/>
          </p:cNvSpPr>
          <p:nvPr>
            <p:ph type="sldNum" sz="quarter" idx="4294967295"/>
          </p:nvPr>
        </p:nvSpPr>
        <p:spPr bwMode="auto">
          <a:xfrm>
            <a:off x="1479550" y="6232525"/>
            <a:ext cx="828675" cy="144463"/>
          </a:xfrm>
          <a:prstGeom prst="rect">
            <a:avLst/>
          </a:prstGeom>
          <a:noFill/>
          <a:ln>
            <a:miter lim="800000"/>
            <a:headEnd/>
            <a:tailEnd/>
          </a:ln>
        </p:spPr>
        <p:txBody>
          <a:bodyPr lIns="91438" tIns="45719" rIns="91438" bIns="45719"/>
          <a:lstStyle/>
          <a:p>
            <a:r>
              <a:rPr lang="en-US" altLang="zh-CN">
                <a:solidFill>
                  <a:srgbClr val="595959"/>
                </a:solidFill>
                <a:latin typeface="Calibri Light"/>
                <a:ea typeface="微软雅黑" pitchFamily="34" charset="-122"/>
              </a:rPr>
              <a:t>P </a:t>
            </a:r>
            <a:fld id="{DFD57227-9CE4-479D-818A-9DA958DF6DE7}" type="slidenum">
              <a:rPr lang="zh-CN" altLang="en-US">
                <a:solidFill>
                  <a:srgbClr val="595959"/>
                </a:solidFill>
                <a:latin typeface="Calibri Light"/>
                <a:ea typeface="微软雅黑" pitchFamily="34" charset="-122"/>
              </a:rPr>
              <a:pPr/>
              <a:t>81</a:t>
            </a:fld>
            <a:endParaRPr lang="en-US" altLang="zh-CN">
              <a:solidFill>
                <a:srgbClr val="595959"/>
              </a:solidFill>
              <a:latin typeface="Calibri Light"/>
              <a:ea typeface="微软雅黑" pitchFamily="34" charset="-122"/>
            </a:endParaRPr>
          </a:p>
        </p:txBody>
      </p:sp>
      <p:graphicFrame>
        <p:nvGraphicFramePr>
          <p:cNvPr id="7" name="表格 6"/>
          <p:cNvGraphicFramePr>
            <a:graphicFrameLocks noGrp="1"/>
          </p:cNvGraphicFramePr>
          <p:nvPr/>
        </p:nvGraphicFramePr>
        <p:xfrm>
          <a:off x="503238" y="1473200"/>
          <a:ext cx="11282362" cy="4233863"/>
        </p:xfrm>
        <a:graphic>
          <a:graphicData uri="http://schemas.openxmlformats.org/drawingml/2006/table">
            <a:tbl>
              <a:tblPr/>
              <a:tblGrid>
                <a:gridCol w="1238000"/>
                <a:gridCol w="1363237"/>
                <a:gridCol w="1434985"/>
                <a:gridCol w="1506736"/>
                <a:gridCol w="1506736"/>
                <a:gridCol w="1793732"/>
                <a:gridCol w="2439799"/>
              </a:tblGrid>
              <a:tr h="1308717">
                <a:tc>
                  <a:txBody>
                    <a:bodyPr/>
                    <a:lstStyle/>
                    <a:p>
                      <a:pPr algn="ctr" fontAlgn="ctr"/>
                      <a:r>
                        <a:rPr lang="zh-CN" altLang="en-US" sz="2000" b="1" i="0" u="none" strike="noStrike" dirty="0">
                          <a:solidFill>
                            <a:srgbClr val="FFFFFF"/>
                          </a:solidFill>
                          <a:effectLst/>
                          <a:latin typeface="微软雅黑" panose="020B0503020204020204" pitchFamily="34" charset="-122"/>
                          <a:ea typeface="微软雅黑" panose="020B0503020204020204" pitchFamily="34" charset="-122"/>
                        </a:rPr>
                        <a:t>频道</a:t>
                      </a:r>
                    </a:p>
                  </a:txBody>
                  <a:tcPr marL="11000" marR="11000" marT="1100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ctr"/>
                      <a:r>
                        <a:rPr lang="zh-CN" altLang="en-US" sz="2000" b="1" i="0" u="none" strike="noStrike" dirty="0">
                          <a:solidFill>
                            <a:srgbClr val="FFFFFF"/>
                          </a:solidFill>
                          <a:effectLst/>
                          <a:latin typeface="微软雅黑" panose="020B0503020204020204" pitchFamily="34" charset="-122"/>
                          <a:ea typeface="微软雅黑" panose="020B0503020204020204" pitchFamily="34" charset="-122"/>
                        </a:rPr>
                        <a:t>节目</a:t>
                      </a: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ctr"/>
                      <a:r>
                        <a:rPr lang="zh-CN" altLang="en-US" sz="2000" b="1" i="0" u="none" strike="noStrike" dirty="0" smtClean="0">
                          <a:solidFill>
                            <a:srgbClr val="FFFFFF"/>
                          </a:solidFill>
                          <a:effectLst/>
                          <a:latin typeface="微软雅黑" panose="020B0503020204020204" pitchFamily="34" charset="-122"/>
                          <a:ea typeface="微软雅黑" panose="020B0503020204020204" pitchFamily="34" charset="-122"/>
                        </a:rPr>
                        <a:t>电视收视</a:t>
                      </a:r>
                      <a:endParaRPr lang="en-US" altLang="zh-CN" sz="2000" b="1" i="0" u="none" strike="noStrike" dirty="0" smtClean="0">
                        <a:solidFill>
                          <a:srgbClr val="FFFFFF"/>
                        </a:solidFill>
                        <a:effectLst/>
                        <a:latin typeface="微软雅黑" panose="020B0503020204020204" pitchFamily="34" charset="-122"/>
                        <a:ea typeface="微软雅黑" panose="020B0503020204020204" pitchFamily="34" charset="-122"/>
                      </a:endParaRPr>
                    </a:p>
                    <a:p>
                      <a:pPr algn="ctr" fontAlgn="ctr"/>
                      <a:r>
                        <a:rPr lang="zh-CN" altLang="en-US" sz="2000" b="1" i="0" u="none" strike="noStrike" dirty="0" smtClean="0">
                          <a:solidFill>
                            <a:srgbClr val="FFFFFF"/>
                          </a:solidFill>
                          <a:effectLst/>
                          <a:latin typeface="微软雅黑" panose="020B0503020204020204" pitchFamily="34" charset="-122"/>
                          <a:ea typeface="微软雅黑" panose="020B0503020204020204" pitchFamily="34" charset="-122"/>
                        </a:rPr>
                        <a:t>人口</a:t>
                      </a:r>
                      <a:endParaRPr lang="zh-CN" altLang="en-US" sz="2000" b="1" i="0" u="none" strike="noStrike" dirty="0">
                        <a:solidFill>
                          <a:srgbClr val="FFFFFF"/>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ctr"/>
                      <a:r>
                        <a:rPr lang="zh-CN" altLang="en-US" sz="2000" b="1" i="0" u="none" strike="noStrike" dirty="0" smtClean="0">
                          <a:solidFill>
                            <a:srgbClr val="FFFFFF"/>
                          </a:solidFill>
                          <a:effectLst/>
                          <a:latin typeface="微软雅黑" panose="020B0503020204020204" pitchFamily="34" charset="-122"/>
                          <a:ea typeface="微软雅黑" panose="020B0503020204020204" pitchFamily="34" charset="-122"/>
                        </a:rPr>
                        <a:t>收视率</a:t>
                      </a:r>
                      <a:r>
                        <a:rPr lang="en-US" altLang="zh-CN" sz="2000" b="1" i="0" u="none" strike="noStrike" dirty="0" smtClean="0">
                          <a:solidFill>
                            <a:srgbClr val="FFFFFF"/>
                          </a:solidFill>
                          <a:effectLst/>
                          <a:latin typeface="微软雅黑" panose="020B0503020204020204" pitchFamily="34" charset="-122"/>
                          <a:ea typeface="微软雅黑" panose="020B0503020204020204" pitchFamily="34" charset="-122"/>
                        </a:rPr>
                        <a:t>%</a:t>
                      </a:r>
                      <a:endParaRPr lang="zh-CN" altLang="en-US" sz="2000" b="1" i="0" u="none" strike="noStrike" dirty="0">
                        <a:solidFill>
                          <a:srgbClr val="FFFFFF"/>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ctr"/>
                      <a:r>
                        <a:rPr lang="zh-CN" altLang="en-US" sz="2000" b="1" i="0" u="none" strike="noStrike" dirty="0" smtClean="0">
                          <a:solidFill>
                            <a:srgbClr val="FFFFFF"/>
                          </a:solidFill>
                          <a:effectLst/>
                          <a:latin typeface="微软雅黑" panose="020B0503020204020204" pitchFamily="34" charset="-122"/>
                          <a:ea typeface="微软雅黑" panose="020B0503020204020204" pitchFamily="34" charset="-122"/>
                        </a:rPr>
                        <a:t>收视人口</a:t>
                      </a:r>
                      <a:endParaRPr lang="zh-CN" altLang="en-US" sz="2000" b="1" i="0" u="none" strike="noStrike" dirty="0">
                        <a:solidFill>
                          <a:srgbClr val="FFFFFF"/>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ctr"/>
                      <a:r>
                        <a:rPr lang="zh-CN" altLang="en-US" sz="2000" b="1" i="0" u="none" strike="noStrike" dirty="0">
                          <a:solidFill>
                            <a:srgbClr val="FFFFFF"/>
                          </a:solidFill>
                          <a:effectLst/>
                          <a:latin typeface="微软雅黑" panose="020B0503020204020204" pitchFamily="34" charset="-122"/>
                          <a:ea typeface="微软雅黑" panose="020B0503020204020204" pitchFamily="34" charset="-122"/>
                        </a:rPr>
                        <a:t>个人月收入</a:t>
                      </a:r>
                      <a:r>
                        <a:rPr lang="en-US" altLang="zh-CN" sz="2000" b="1" i="0" u="none" strike="noStrike" dirty="0">
                          <a:solidFill>
                            <a:srgbClr val="FFFFFF"/>
                          </a:solidFill>
                          <a:effectLst/>
                          <a:latin typeface="微软雅黑" panose="020B0503020204020204" pitchFamily="34" charset="-122"/>
                          <a:ea typeface="微软雅黑" panose="020B0503020204020204" pitchFamily="34" charset="-122"/>
                        </a:rPr>
                        <a:t>5000+</a:t>
                      </a:r>
                      <a:br>
                        <a:rPr lang="en-US" altLang="zh-CN" sz="2000" b="1" i="0" u="none" strike="noStrike" dirty="0">
                          <a:solidFill>
                            <a:srgbClr val="FFFFFF"/>
                          </a:solidFill>
                          <a:effectLst/>
                          <a:latin typeface="微软雅黑" panose="020B0503020204020204" pitchFamily="34" charset="-122"/>
                          <a:ea typeface="微软雅黑" panose="020B0503020204020204" pitchFamily="34" charset="-122"/>
                        </a:rPr>
                      </a:br>
                      <a:r>
                        <a:rPr lang="zh-CN" altLang="en-US" sz="2000" b="1" i="0" u="none" strike="noStrike" dirty="0">
                          <a:solidFill>
                            <a:srgbClr val="FFFFFF"/>
                          </a:solidFill>
                          <a:effectLst/>
                          <a:latin typeface="微软雅黑" panose="020B0503020204020204" pitchFamily="34" charset="-122"/>
                          <a:ea typeface="微软雅黑" panose="020B0503020204020204" pitchFamily="34" charset="-122"/>
                        </a:rPr>
                        <a:t>占</a:t>
                      </a:r>
                      <a:r>
                        <a:rPr lang="zh-CN" altLang="en-US" sz="2000" b="1" i="0" u="none" strike="noStrike" dirty="0" smtClean="0">
                          <a:solidFill>
                            <a:srgbClr val="FFFFFF"/>
                          </a:solidFill>
                          <a:effectLst/>
                          <a:latin typeface="微软雅黑" panose="020B0503020204020204" pitchFamily="34" charset="-122"/>
                          <a:ea typeface="微软雅黑" panose="020B0503020204020204" pitchFamily="34" charset="-122"/>
                        </a:rPr>
                        <a:t>比</a:t>
                      </a:r>
                      <a:endParaRPr lang="zh-CN" altLang="en-US" sz="2000" b="1" i="0" u="none" strike="noStrike" dirty="0">
                        <a:solidFill>
                          <a:srgbClr val="FFFFFF"/>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ctr"/>
                      <a:r>
                        <a:rPr lang="zh-CN" altLang="en-US" sz="2000" b="1" i="0" u="none" strike="noStrike" dirty="0" smtClean="0">
                          <a:solidFill>
                            <a:srgbClr val="FFFFFF"/>
                          </a:solidFill>
                          <a:effectLst/>
                          <a:latin typeface="微软雅黑" panose="020B0503020204020204" pitchFamily="34" charset="-122"/>
                          <a:ea typeface="微软雅黑" panose="020B0503020204020204" pitchFamily="34" charset="-122"/>
                        </a:rPr>
                        <a:t>个人</a:t>
                      </a:r>
                      <a:r>
                        <a:rPr lang="zh-CN" altLang="en-US" sz="2000" b="1" i="0" u="none" strike="noStrike" dirty="0">
                          <a:solidFill>
                            <a:srgbClr val="FFFFFF"/>
                          </a:solidFill>
                          <a:effectLst/>
                          <a:latin typeface="微软雅黑" panose="020B0503020204020204" pitchFamily="34" charset="-122"/>
                          <a:ea typeface="微软雅黑" panose="020B0503020204020204" pitchFamily="34" charset="-122"/>
                        </a:rPr>
                        <a:t>月收入</a:t>
                      </a:r>
                      <a:r>
                        <a:rPr lang="en-US" altLang="zh-CN" sz="2000" b="1" i="0" u="none" strike="noStrike" dirty="0">
                          <a:solidFill>
                            <a:srgbClr val="FFFFFF"/>
                          </a:solidFill>
                          <a:effectLst/>
                          <a:latin typeface="微软雅黑" panose="020B0503020204020204" pitchFamily="34" charset="-122"/>
                          <a:ea typeface="微软雅黑" panose="020B0503020204020204" pitchFamily="34" charset="-122"/>
                        </a:rPr>
                        <a:t>5000+</a:t>
                      </a:r>
                      <a:br>
                        <a:rPr lang="en-US" altLang="zh-CN" sz="2000" b="1" i="0" u="none" strike="noStrike" dirty="0">
                          <a:solidFill>
                            <a:srgbClr val="FFFFFF"/>
                          </a:solidFill>
                          <a:effectLst/>
                          <a:latin typeface="微软雅黑" panose="020B0503020204020204" pitchFamily="34" charset="-122"/>
                          <a:ea typeface="微软雅黑" panose="020B0503020204020204" pitchFamily="34" charset="-122"/>
                        </a:rPr>
                      </a:br>
                      <a:r>
                        <a:rPr lang="zh-CN" altLang="en-US" sz="2000" b="1" i="0" u="none" strike="noStrike" dirty="0" smtClean="0">
                          <a:solidFill>
                            <a:srgbClr val="FFFFFF"/>
                          </a:solidFill>
                          <a:effectLst/>
                          <a:latin typeface="微软雅黑" panose="020B0503020204020204" pitchFamily="34" charset="-122"/>
                          <a:ea typeface="微软雅黑" panose="020B0503020204020204" pitchFamily="34" charset="-122"/>
                        </a:rPr>
                        <a:t>收视人口数</a:t>
                      </a:r>
                      <a:endParaRPr lang="zh-CN" altLang="en-US" sz="2000" b="1" i="0" u="none" strike="noStrike" dirty="0">
                        <a:solidFill>
                          <a:srgbClr val="FFFFFF"/>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975123">
                <a:tc>
                  <a:txBody>
                    <a:bodyPr/>
                    <a:lstStyle/>
                    <a:p>
                      <a:pPr algn="ctr" fontAlgn="ctr"/>
                      <a:r>
                        <a:rPr lang="zh-CN" altLang="en-US" sz="2000" b="1" i="0" u="none" strike="noStrike" dirty="0">
                          <a:solidFill>
                            <a:srgbClr val="000000"/>
                          </a:solidFill>
                          <a:effectLst/>
                          <a:latin typeface="微软雅黑" panose="020B0503020204020204" pitchFamily="34" charset="-122"/>
                          <a:ea typeface="微软雅黑" panose="020B0503020204020204" pitchFamily="34" charset="-122"/>
                        </a:rPr>
                        <a:t>湖南卫视</a:t>
                      </a:r>
                    </a:p>
                  </a:txBody>
                  <a:tcPr marL="11000" marR="11000" marT="1100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2000" b="1" i="0" u="none" strike="noStrike" dirty="0">
                          <a:solidFill>
                            <a:srgbClr val="000000"/>
                          </a:solidFill>
                          <a:effectLst/>
                          <a:latin typeface="微软雅黑" panose="020B0503020204020204" pitchFamily="34" charset="-122"/>
                          <a:ea typeface="微软雅黑" panose="020B0503020204020204" pitchFamily="34" charset="-122"/>
                        </a:rPr>
                        <a:t>快乐大本营</a:t>
                      </a: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10</a:t>
                      </a:r>
                      <a:r>
                        <a:rPr lang="zh-CN" altLang="en-US" sz="2000" b="0" i="0" u="none" strike="noStrike" dirty="0" smtClean="0">
                          <a:solidFill>
                            <a:srgbClr val="000000"/>
                          </a:solidFill>
                          <a:effectLst/>
                          <a:latin typeface="微软雅黑" panose="020B0503020204020204" pitchFamily="34" charset="-122"/>
                          <a:ea typeface="微软雅黑" panose="020B0503020204020204" pitchFamily="34" charset="-122"/>
                        </a:rPr>
                        <a:t>亿</a:t>
                      </a: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 </a:t>
                      </a:r>
                      <a:endParaRPr lang="en-US" altLang="zh-CN" sz="2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4.1</a:t>
                      </a:r>
                      <a:endParaRPr lang="en-US" altLang="zh-CN" sz="2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4100</a:t>
                      </a:r>
                      <a:r>
                        <a:rPr lang="zh-CN" altLang="en-US" sz="2000" b="0" i="0" u="none" strike="noStrike" dirty="0" smtClean="0">
                          <a:solidFill>
                            <a:srgbClr val="000000"/>
                          </a:solidFill>
                          <a:effectLst/>
                          <a:latin typeface="微软雅黑" panose="020B0503020204020204" pitchFamily="34" charset="-122"/>
                          <a:ea typeface="微软雅黑" panose="020B0503020204020204" pitchFamily="34" charset="-122"/>
                        </a:rPr>
                        <a:t>万</a:t>
                      </a:r>
                      <a:endParaRPr lang="en-US" altLang="zh-CN" sz="2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7.97%</a:t>
                      </a:r>
                      <a:endParaRPr lang="en-US" altLang="zh-CN" sz="2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326.8</a:t>
                      </a:r>
                      <a:r>
                        <a:rPr lang="zh-CN" altLang="en-US" sz="2000" b="0" i="0" u="none" strike="noStrike" dirty="0" smtClean="0">
                          <a:solidFill>
                            <a:srgbClr val="000000"/>
                          </a:solidFill>
                          <a:effectLst/>
                          <a:latin typeface="微软雅黑" panose="020B0503020204020204" pitchFamily="34" charset="-122"/>
                          <a:ea typeface="微软雅黑" panose="020B0503020204020204" pitchFamily="34" charset="-122"/>
                        </a:rPr>
                        <a:t>万</a:t>
                      </a:r>
                      <a:endParaRPr lang="en-US" altLang="zh-CN" sz="2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975123">
                <a:tc>
                  <a:txBody>
                    <a:bodyPr/>
                    <a:lstStyle/>
                    <a:p>
                      <a:pPr algn="ctr" fontAlgn="ctr"/>
                      <a:r>
                        <a:rPr lang="zh-CN" altLang="en-US" sz="2000" b="1" i="0" u="none" strike="noStrike">
                          <a:solidFill>
                            <a:srgbClr val="000000"/>
                          </a:solidFill>
                          <a:effectLst/>
                          <a:latin typeface="微软雅黑" panose="020B0503020204020204" pitchFamily="34" charset="-122"/>
                          <a:ea typeface="微软雅黑" panose="020B0503020204020204" pitchFamily="34" charset="-122"/>
                        </a:rPr>
                        <a:t>浙江卫视</a:t>
                      </a:r>
                    </a:p>
                  </a:txBody>
                  <a:tcPr marL="11000" marR="11000" marT="1100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2000" b="1" i="0" u="none" strike="noStrike">
                          <a:solidFill>
                            <a:srgbClr val="000000"/>
                          </a:solidFill>
                          <a:effectLst/>
                          <a:latin typeface="微软雅黑" panose="020B0503020204020204" pitchFamily="34" charset="-122"/>
                          <a:ea typeface="微软雅黑" panose="020B0503020204020204" pitchFamily="34" charset="-122"/>
                        </a:rPr>
                        <a:t>奔跑吧兄弟</a:t>
                      </a: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indent="0" algn="ctr" defTabSz="685729" rtl="0" eaLnBrk="1" fontAlgn="ctr" latinLnBrk="0" hangingPunct="1">
                        <a:lnSpc>
                          <a:spcPct val="100000"/>
                        </a:lnSpc>
                        <a:spcBef>
                          <a:spcPts val="0"/>
                        </a:spcBef>
                        <a:spcAft>
                          <a:spcPts val="0"/>
                        </a:spcAft>
                        <a:buClrTx/>
                        <a:buSzTx/>
                        <a:buFontTx/>
                        <a:buNone/>
                        <a:tabLst/>
                        <a:defRPr/>
                      </a:pP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10</a:t>
                      </a:r>
                      <a:r>
                        <a:rPr lang="zh-CN" altLang="en-US" sz="2000" b="0" i="0" u="none" strike="noStrike" dirty="0" smtClean="0">
                          <a:solidFill>
                            <a:srgbClr val="000000"/>
                          </a:solidFill>
                          <a:effectLst/>
                          <a:latin typeface="微软雅黑" panose="020B0503020204020204" pitchFamily="34" charset="-122"/>
                          <a:ea typeface="微软雅黑" panose="020B0503020204020204" pitchFamily="34" charset="-122"/>
                        </a:rPr>
                        <a:t>亿</a:t>
                      </a: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   </a:t>
                      </a:r>
                      <a:endParaRPr lang="en-US" altLang="zh-CN" sz="2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3.8</a:t>
                      </a:r>
                      <a:endParaRPr lang="en-US" altLang="zh-CN" sz="2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3800</a:t>
                      </a:r>
                      <a:r>
                        <a:rPr lang="zh-CN" altLang="en-US" sz="2000" b="0" i="0" u="none" strike="noStrike" dirty="0" smtClean="0">
                          <a:solidFill>
                            <a:srgbClr val="000000"/>
                          </a:solidFill>
                          <a:effectLst/>
                          <a:latin typeface="微软雅黑" panose="020B0503020204020204" pitchFamily="34" charset="-122"/>
                          <a:ea typeface="微软雅黑" panose="020B0503020204020204" pitchFamily="34" charset="-122"/>
                        </a:rPr>
                        <a:t>万</a:t>
                      </a:r>
                      <a:endParaRPr lang="en-US" altLang="zh-CN" sz="2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11.9%</a:t>
                      </a:r>
                      <a:endParaRPr lang="en-US" altLang="zh-CN" sz="2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453.9</a:t>
                      </a:r>
                      <a:r>
                        <a:rPr lang="zh-CN" altLang="en-US" sz="2000" b="0" i="0" u="none" strike="noStrike" dirty="0" smtClean="0">
                          <a:solidFill>
                            <a:srgbClr val="000000"/>
                          </a:solidFill>
                          <a:effectLst/>
                          <a:latin typeface="微软雅黑" panose="020B0503020204020204" pitchFamily="34" charset="-122"/>
                          <a:ea typeface="微软雅黑" panose="020B0503020204020204" pitchFamily="34" charset="-122"/>
                        </a:rPr>
                        <a:t>万</a:t>
                      </a:r>
                      <a:endParaRPr lang="en-US" altLang="zh-CN" sz="2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975123">
                <a:tc>
                  <a:txBody>
                    <a:bodyPr/>
                    <a:lstStyle/>
                    <a:p>
                      <a:pPr algn="ctr" fontAlgn="ctr"/>
                      <a:r>
                        <a:rPr lang="zh-CN" altLang="en-US" sz="2000" b="1" i="0" u="none" strike="noStrike" dirty="0">
                          <a:solidFill>
                            <a:srgbClr val="000000"/>
                          </a:solidFill>
                          <a:effectLst/>
                          <a:latin typeface="微软雅黑" panose="020B0503020204020204" pitchFamily="34" charset="-122"/>
                          <a:ea typeface="微软雅黑" panose="020B0503020204020204" pitchFamily="34" charset="-122"/>
                        </a:rPr>
                        <a:t>东方卫视</a:t>
                      </a:r>
                    </a:p>
                  </a:txBody>
                  <a:tcPr marL="11000" marR="11000" marT="1100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2000" b="1" i="0" u="none" strike="noStrike">
                          <a:solidFill>
                            <a:srgbClr val="000000"/>
                          </a:solidFill>
                          <a:effectLst/>
                          <a:latin typeface="微软雅黑" panose="020B0503020204020204" pitchFamily="34" charset="-122"/>
                          <a:ea typeface="微软雅黑" panose="020B0503020204020204" pitchFamily="34" charset="-122"/>
                        </a:rPr>
                        <a:t>欢乐喜剧人</a:t>
                      </a: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indent="0" algn="ctr" defTabSz="685729" rtl="0" eaLnBrk="1" fontAlgn="ctr" latinLnBrk="0" hangingPunct="1">
                        <a:lnSpc>
                          <a:spcPct val="100000"/>
                        </a:lnSpc>
                        <a:spcBef>
                          <a:spcPts val="0"/>
                        </a:spcBef>
                        <a:spcAft>
                          <a:spcPts val="0"/>
                        </a:spcAft>
                        <a:buClrTx/>
                        <a:buSzTx/>
                        <a:buFontTx/>
                        <a:buNone/>
                        <a:tabLst/>
                        <a:defRPr/>
                      </a:pP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10</a:t>
                      </a:r>
                      <a:r>
                        <a:rPr lang="zh-CN" altLang="en-US" sz="2000" b="0" i="0" u="none" strike="noStrike" dirty="0" smtClean="0">
                          <a:solidFill>
                            <a:srgbClr val="000000"/>
                          </a:solidFill>
                          <a:effectLst/>
                          <a:latin typeface="微软雅黑" panose="020B0503020204020204" pitchFamily="34" charset="-122"/>
                          <a:ea typeface="微软雅黑" panose="020B0503020204020204" pitchFamily="34" charset="-122"/>
                        </a:rPr>
                        <a:t>亿</a:t>
                      </a: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  </a:t>
                      </a:r>
                      <a:endParaRPr lang="en-US" altLang="zh-CN" sz="2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3.1</a:t>
                      </a:r>
                      <a:endParaRPr lang="en-US" altLang="zh-CN" sz="2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3100</a:t>
                      </a:r>
                      <a:r>
                        <a:rPr lang="zh-CN" altLang="en-US" sz="2000" b="0" i="0" u="none" strike="noStrike" dirty="0" smtClean="0">
                          <a:solidFill>
                            <a:srgbClr val="000000"/>
                          </a:solidFill>
                          <a:effectLst/>
                          <a:latin typeface="微软雅黑" panose="020B0503020204020204" pitchFamily="34" charset="-122"/>
                          <a:ea typeface="微软雅黑" panose="020B0503020204020204" pitchFamily="34" charset="-122"/>
                        </a:rPr>
                        <a:t>万</a:t>
                      </a:r>
                      <a:endParaRPr lang="en-US" altLang="zh-CN" sz="2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8.57%</a:t>
                      </a:r>
                      <a:endParaRPr lang="en-US" altLang="zh-CN" sz="2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2000" b="0" i="0" u="none" strike="noStrike" dirty="0" smtClean="0">
                          <a:solidFill>
                            <a:srgbClr val="000000"/>
                          </a:solidFill>
                          <a:effectLst/>
                          <a:latin typeface="微软雅黑" panose="020B0503020204020204" pitchFamily="34" charset="-122"/>
                          <a:ea typeface="微软雅黑" panose="020B0503020204020204" pitchFamily="34" charset="-122"/>
                        </a:rPr>
                        <a:t>265.8</a:t>
                      </a:r>
                      <a:r>
                        <a:rPr lang="zh-CN" altLang="en-US" sz="2000" b="0" i="0" u="none" strike="noStrike" dirty="0" smtClean="0">
                          <a:solidFill>
                            <a:srgbClr val="000000"/>
                          </a:solidFill>
                          <a:effectLst/>
                          <a:latin typeface="微软雅黑" panose="020B0503020204020204" pitchFamily="34" charset="-122"/>
                          <a:ea typeface="微软雅黑" panose="020B0503020204020204" pitchFamily="34" charset="-122"/>
                        </a:rPr>
                        <a:t>万</a:t>
                      </a:r>
                      <a:endParaRPr lang="en-US" altLang="zh-CN" sz="2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000" marR="11000" marT="1100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bl>
          </a:graphicData>
        </a:graphic>
      </p:graphicFrame>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1553" name="图片 5" descr="朋友圈.jpg"/>
          <p:cNvPicPr>
            <a:picLocks noChangeAspect="1"/>
          </p:cNvPicPr>
          <p:nvPr/>
        </p:nvPicPr>
        <p:blipFill>
          <a:blip r:embed="rId2"/>
          <a:srcRect/>
          <a:stretch>
            <a:fillRect/>
          </a:stretch>
        </p:blipFill>
        <p:spPr bwMode="auto">
          <a:xfrm>
            <a:off x="8763000" y="2803525"/>
            <a:ext cx="2295525" cy="3662363"/>
          </a:xfrm>
          <a:prstGeom prst="rect">
            <a:avLst/>
          </a:prstGeom>
          <a:noFill/>
          <a:ln w="9525">
            <a:noFill/>
            <a:miter lim="800000"/>
            <a:headEnd/>
            <a:tailEnd/>
          </a:ln>
        </p:spPr>
      </p:pic>
      <p:sp>
        <p:nvSpPr>
          <p:cNvPr id="151554" name="内容占位符 2"/>
          <p:cNvSpPr txBox="1">
            <a:spLocks/>
          </p:cNvSpPr>
          <p:nvPr/>
        </p:nvSpPr>
        <p:spPr bwMode="auto">
          <a:xfrm>
            <a:off x="814388" y="981075"/>
            <a:ext cx="10315575" cy="1674813"/>
          </a:xfrm>
          <a:prstGeom prst="rect">
            <a:avLst/>
          </a:prstGeom>
          <a:noFill/>
          <a:ln w="9525">
            <a:noFill/>
            <a:miter lim="800000"/>
            <a:headEnd/>
            <a:tailEnd/>
          </a:ln>
        </p:spPr>
        <p:txBody>
          <a:bodyPr lIns="91259" tIns="45630" rIns="91259" bIns="45630">
            <a:spAutoFit/>
          </a:bodyPr>
          <a:lstStyle/>
          <a:p>
            <a:pPr marL="361950" indent="-361950" defTabSz="914400" eaLnBrk="0" hangingPunct="0">
              <a:lnSpc>
                <a:spcPct val="150000"/>
              </a:lnSpc>
              <a:spcBef>
                <a:spcPct val="20000"/>
              </a:spcBef>
              <a:buFont typeface="Wingdings" pitchFamily="2" charset="2"/>
              <a:buChar char="u"/>
            </a:pPr>
            <a:r>
              <a:rPr lang="zh-CN" altLang="en-US" sz="2100">
                <a:latin typeface="微软雅黑" pitchFamily="34" charset="-122"/>
                <a:ea typeface="微软雅黑" pitchFamily="34" charset="-122"/>
              </a:rPr>
              <a:t>微博 </a:t>
            </a:r>
            <a:r>
              <a:rPr lang="en-US" altLang="zh-CN" sz="2100">
                <a:latin typeface="微软雅黑" pitchFamily="34" charset="-122"/>
                <a:ea typeface="微软雅黑" pitchFamily="34" charset="-122"/>
              </a:rPr>
              <a:t>/ </a:t>
            </a:r>
            <a:r>
              <a:rPr lang="zh-CN" altLang="en-US" sz="2100">
                <a:latin typeface="微软雅黑" pitchFamily="34" charset="-122"/>
                <a:ea typeface="微软雅黑" pitchFamily="34" charset="-122"/>
              </a:rPr>
              <a:t>微信 </a:t>
            </a:r>
            <a:r>
              <a:rPr lang="en-US" altLang="zh-CN" sz="2100">
                <a:latin typeface="微软雅黑" pitchFamily="34" charset="-122"/>
                <a:ea typeface="微软雅黑" pitchFamily="34" charset="-122"/>
              </a:rPr>
              <a:t>/ </a:t>
            </a:r>
            <a:r>
              <a:rPr lang="zh-CN" altLang="en-US" sz="2100">
                <a:latin typeface="微软雅黑" pitchFamily="34" charset="-122"/>
                <a:ea typeface="微软雅黑" pitchFamily="34" charset="-122"/>
              </a:rPr>
              <a:t>新闻客户端占据主流受众更多的时长</a:t>
            </a:r>
            <a:endParaRPr lang="en-US" altLang="zh-CN" sz="2100">
              <a:latin typeface="微软雅黑" pitchFamily="34" charset="-122"/>
              <a:ea typeface="微软雅黑" pitchFamily="34" charset="-122"/>
            </a:endParaRPr>
          </a:p>
          <a:p>
            <a:pPr marL="361950" indent="-361950" defTabSz="914400" eaLnBrk="0" hangingPunct="0">
              <a:lnSpc>
                <a:spcPct val="150000"/>
              </a:lnSpc>
              <a:spcBef>
                <a:spcPct val="20000"/>
              </a:spcBef>
              <a:buFont typeface="Wingdings" pitchFamily="2" charset="2"/>
              <a:buChar char="u"/>
            </a:pPr>
            <a:r>
              <a:rPr lang="zh-CN" altLang="en-US" sz="2100">
                <a:latin typeface="微软雅黑" pitchFamily="34" charset="-122"/>
                <a:ea typeface="微软雅黑" pitchFamily="34" charset="-122"/>
              </a:rPr>
              <a:t>用户是在看内容</a:t>
            </a:r>
            <a:endParaRPr lang="en-US" altLang="zh-CN" sz="2100">
              <a:latin typeface="微软雅黑" pitchFamily="34" charset="-122"/>
              <a:ea typeface="微软雅黑" pitchFamily="34" charset="-122"/>
            </a:endParaRPr>
          </a:p>
          <a:p>
            <a:pPr marL="361950" indent="-361950" defTabSz="914400" eaLnBrk="0" hangingPunct="0">
              <a:lnSpc>
                <a:spcPct val="150000"/>
              </a:lnSpc>
              <a:spcBef>
                <a:spcPct val="20000"/>
              </a:spcBef>
              <a:buFont typeface="Wingdings" pitchFamily="2" charset="2"/>
              <a:buChar char="u"/>
            </a:pPr>
            <a:r>
              <a:rPr lang="zh-CN" altLang="en-US" sz="2100">
                <a:latin typeface="微软雅黑" pitchFamily="34" charset="-122"/>
                <a:ea typeface="微软雅黑" pitchFamily="34" charset="-122"/>
              </a:rPr>
              <a:t>应该做内容做公关做话题</a:t>
            </a:r>
            <a:endParaRPr lang="en-US" altLang="zh-CN" sz="2100">
              <a:latin typeface="微软雅黑" pitchFamily="34" charset="-122"/>
              <a:ea typeface="微软雅黑" pitchFamily="34" charset="-122"/>
            </a:endParaRPr>
          </a:p>
        </p:txBody>
      </p:sp>
      <p:sp>
        <p:nvSpPr>
          <p:cNvPr id="151555" name="标题 1"/>
          <p:cNvSpPr>
            <a:spLocks noGrp="1"/>
          </p:cNvSpPr>
          <p:nvPr>
            <p:ph type="title"/>
          </p:nvPr>
        </p:nvSpPr>
        <p:spPr bwMode="auto">
          <a:xfrm>
            <a:off x="239713" y="0"/>
            <a:ext cx="10369550" cy="1143000"/>
          </a:xfrm>
          <a:noFill/>
          <a:ln>
            <a:miter lim="800000"/>
            <a:headEnd/>
            <a:tailEnd/>
          </a:ln>
        </p:spPr>
        <p:txBody>
          <a:bodyPr vert="horz" wrap="square" lIns="121917" tIns="60958" rIns="121917" bIns="60958" numCol="1" anchor="t" anchorCtr="0" compatLnSpc="1">
            <a:prstTxWarp prst="textNoShape">
              <a:avLst/>
            </a:prstTxWarp>
          </a:bodyPr>
          <a:lstStyle/>
          <a:p>
            <a:pPr algn="ctr"/>
            <a:r>
              <a:rPr lang="zh-CN" altLang="en-US" sz="3200" smtClean="0"/>
              <a:t>主流人群媒体习惯的巨变</a:t>
            </a:r>
          </a:p>
        </p:txBody>
      </p:sp>
      <p:grpSp>
        <p:nvGrpSpPr>
          <p:cNvPr id="151556" name="组合 19"/>
          <p:cNvGrpSpPr>
            <a:grpSpLocks/>
          </p:cNvGrpSpPr>
          <p:nvPr/>
        </p:nvGrpSpPr>
        <p:grpSpPr bwMode="auto">
          <a:xfrm>
            <a:off x="1363663" y="2803525"/>
            <a:ext cx="2060575" cy="3662363"/>
            <a:chOff x="-796721" y="2769397"/>
            <a:chExt cx="2059849" cy="3661954"/>
          </a:xfrm>
        </p:grpSpPr>
        <p:pic>
          <p:nvPicPr>
            <p:cNvPr id="151565" name="图片 8"/>
            <p:cNvPicPr>
              <a:picLocks noChangeAspect="1"/>
            </p:cNvPicPr>
            <p:nvPr/>
          </p:nvPicPr>
          <p:blipFill>
            <a:blip r:embed="rId3"/>
            <a:srcRect/>
            <a:stretch>
              <a:fillRect/>
            </a:stretch>
          </p:blipFill>
          <p:spPr bwMode="auto">
            <a:xfrm>
              <a:off x="-796721" y="2769397"/>
              <a:ext cx="2059849" cy="3661954"/>
            </a:xfrm>
            <a:prstGeom prst="rect">
              <a:avLst/>
            </a:prstGeom>
            <a:noFill/>
            <a:ln w="9525">
              <a:noFill/>
              <a:miter lim="800000"/>
              <a:headEnd/>
              <a:tailEnd/>
            </a:ln>
          </p:spPr>
        </p:pic>
        <p:sp>
          <p:nvSpPr>
            <p:cNvPr id="16" name="矩形 15"/>
            <p:cNvSpPr/>
            <p:nvPr/>
          </p:nvSpPr>
          <p:spPr>
            <a:xfrm>
              <a:off x="344289" y="5523402"/>
              <a:ext cx="874405" cy="874614"/>
            </a:xfrm>
            <a:prstGeom prst="rect">
              <a:avLst/>
            </a:prstGeom>
            <a:solidFill>
              <a:schemeClr val="tx1"/>
            </a:solidFill>
            <a:ln>
              <a:solidFill>
                <a:schemeClr val="bg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endParaRPr lang="zh-CN" altLang="en-US"/>
            </a:p>
          </p:txBody>
        </p:sp>
        <p:pic>
          <p:nvPicPr>
            <p:cNvPr id="151567" name="图片 10"/>
            <p:cNvPicPr>
              <a:picLocks noChangeAspect="1"/>
            </p:cNvPicPr>
            <p:nvPr/>
          </p:nvPicPr>
          <p:blipFill>
            <a:blip r:embed="rId4"/>
            <a:srcRect/>
            <a:stretch>
              <a:fillRect/>
            </a:stretch>
          </p:blipFill>
          <p:spPr bwMode="auto">
            <a:xfrm>
              <a:off x="465111" y="5592919"/>
              <a:ext cx="668707" cy="666843"/>
            </a:xfrm>
            <a:prstGeom prst="rect">
              <a:avLst/>
            </a:prstGeom>
            <a:noFill/>
            <a:ln w="9525">
              <a:noFill/>
              <a:miter lim="800000"/>
              <a:headEnd/>
              <a:tailEnd/>
            </a:ln>
          </p:spPr>
        </p:pic>
      </p:grpSp>
      <p:grpSp>
        <p:nvGrpSpPr>
          <p:cNvPr id="151557" name="组合 20"/>
          <p:cNvGrpSpPr>
            <a:grpSpLocks/>
          </p:cNvGrpSpPr>
          <p:nvPr/>
        </p:nvGrpSpPr>
        <p:grpSpPr bwMode="auto">
          <a:xfrm>
            <a:off x="3830638" y="2770188"/>
            <a:ext cx="2058987" cy="3660775"/>
            <a:chOff x="1450113" y="2803202"/>
            <a:chExt cx="2059849" cy="3661954"/>
          </a:xfrm>
        </p:grpSpPr>
        <p:pic>
          <p:nvPicPr>
            <p:cNvPr id="151562" name="图片 7"/>
            <p:cNvPicPr>
              <a:picLocks noChangeAspect="1"/>
            </p:cNvPicPr>
            <p:nvPr/>
          </p:nvPicPr>
          <p:blipFill>
            <a:blip r:embed="rId5"/>
            <a:srcRect/>
            <a:stretch>
              <a:fillRect/>
            </a:stretch>
          </p:blipFill>
          <p:spPr bwMode="auto">
            <a:xfrm>
              <a:off x="1450113" y="2803202"/>
              <a:ext cx="2059849" cy="3661954"/>
            </a:xfrm>
            <a:prstGeom prst="rect">
              <a:avLst/>
            </a:prstGeom>
            <a:noFill/>
            <a:ln w="9525">
              <a:noFill/>
              <a:miter lim="800000"/>
              <a:headEnd/>
              <a:tailEnd/>
            </a:ln>
          </p:spPr>
        </p:pic>
        <p:sp>
          <p:nvSpPr>
            <p:cNvPr id="18" name="矩形 17"/>
            <p:cNvSpPr/>
            <p:nvPr/>
          </p:nvSpPr>
          <p:spPr>
            <a:xfrm>
              <a:off x="2566592" y="5556814"/>
              <a:ext cx="875079" cy="874994"/>
            </a:xfrm>
            <a:prstGeom prst="rect">
              <a:avLst/>
            </a:prstGeom>
            <a:solidFill>
              <a:schemeClr val="tx1"/>
            </a:solidFill>
            <a:ln>
              <a:solidFill>
                <a:schemeClr val="bg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endParaRPr lang="zh-CN" altLang="en-US"/>
            </a:p>
          </p:txBody>
        </p:sp>
        <p:pic>
          <p:nvPicPr>
            <p:cNvPr id="151564" name="图片 11"/>
            <p:cNvPicPr>
              <a:picLocks noChangeAspect="1"/>
            </p:cNvPicPr>
            <p:nvPr/>
          </p:nvPicPr>
          <p:blipFill>
            <a:blip r:embed="rId6"/>
            <a:srcRect/>
            <a:stretch>
              <a:fillRect/>
            </a:stretch>
          </p:blipFill>
          <p:spPr bwMode="auto">
            <a:xfrm>
              <a:off x="2667245" y="5707499"/>
              <a:ext cx="666843" cy="666843"/>
            </a:xfrm>
            <a:prstGeom prst="rect">
              <a:avLst/>
            </a:prstGeom>
            <a:noFill/>
            <a:ln w="9525">
              <a:noFill/>
              <a:miter lim="800000"/>
              <a:headEnd/>
              <a:tailEnd/>
            </a:ln>
          </p:spPr>
        </p:pic>
      </p:grpSp>
      <p:grpSp>
        <p:nvGrpSpPr>
          <p:cNvPr id="151558" name="组合 21"/>
          <p:cNvGrpSpPr>
            <a:grpSpLocks/>
          </p:cNvGrpSpPr>
          <p:nvPr/>
        </p:nvGrpSpPr>
        <p:grpSpPr bwMode="auto">
          <a:xfrm>
            <a:off x="6296025" y="2803525"/>
            <a:ext cx="2060575" cy="3662363"/>
            <a:chOff x="6157368" y="2803202"/>
            <a:chExt cx="2059849" cy="3661954"/>
          </a:xfrm>
        </p:grpSpPr>
        <p:pic>
          <p:nvPicPr>
            <p:cNvPr id="151559" name="图片 9"/>
            <p:cNvPicPr>
              <a:picLocks noChangeAspect="1"/>
            </p:cNvPicPr>
            <p:nvPr/>
          </p:nvPicPr>
          <p:blipFill>
            <a:blip r:embed="rId7"/>
            <a:srcRect/>
            <a:stretch>
              <a:fillRect/>
            </a:stretch>
          </p:blipFill>
          <p:spPr bwMode="auto">
            <a:xfrm>
              <a:off x="6157368" y="2803202"/>
              <a:ext cx="2059849" cy="3661954"/>
            </a:xfrm>
            <a:prstGeom prst="rect">
              <a:avLst/>
            </a:prstGeom>
            <a:noFill/>
            <a:ln w="9525">
              <a:noFill/>
              <a:miter lim="800000"/>
              <a:headEnd/>
              <a:tailEnd/>
            </a:ln>
          </p:spPr>
        </p:pic>
        <p:sp>
          <p:nvSpPr>
            <p:cNvPr id="19" name="矩形 18"/>
            <p:cNvSpPr/>
            <p:nvPr/>
          </p:nvSpPr>
          <p:spPr>
            <a:xfrm>
              <a:off x="7263466" y="5557207"/>
              <a:ext cx="875991" cy="874614"/>
            </a:xfrm>
            <a:prstGeom prst="rect">
              <a:avLst/>
            </a:prstGeom>
            <a:solidFill>
              <a:schemeClr val="tx1"/>
            </a:solidFill>
            <a:ln>
              <a:solidFill>
                <a:schemeClr val="bg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fontAlgn="auto">
                <a:spcBef>
                  <a:spcPts val="0"/>
                </a:spcBef>
                <a:spcAft>
                  <a:spcPts val="0"/>
                </a:spcAft>
                <a:defRPr/>
              </a:pPr>
              <a:endParaRPr lang="zh-CN" altLang="en-US"/>
            </a:p>
          </p:txBody>
        </p:sp>
        <p:pic>
          <p:nvPicPr>
            <p:cNvPr id="151561" name="图片 13"/>
            <p:cNvPicPr>
              <a:picLocks noChangeAspect="1"/>
            </p:cNvPicPr>
            <p:nvPr/>
          </p:nvPicPr>
          <p:blipFill>
            <a:blip r:embed="rId8"/>
            <a:srcRect/>
            <a:stretch>
              <a:fillRect/>
            </a:stretch>
          </p:blipFill>
          <p:spPr bwMode="auto">
            <a:xfrm>
              <a:off x="7368266" y="5694334"/>
              <a:ext cx="666843" cy="666843"/>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内容占位符 2"/>
          <p:cNvSpPr txBox="1">
            <a:spLocks/>
          </p:cNvSpPr>
          <p:nvPr/>
        </p:nvSpPr>
        <p:spPr bwMode="auto">
          <a:xfrm>
            <a:off x="488950" y="1104900"/>
            <a:ext cx="11125200" cy="1600200"/>
          </a:xfrm>
          <a:prstGeom prst="rect">
            <a:avLst/>
          </a:prstGeom>
          <a:noFill/>
          <a:ln w="9525">
            <a:noFill/>
            <a:miter lim="800000"/>
            <a:headEnd/>
            <a:tailEnd/>
          </a:ln>
        </p:spPr>
        <p:txBody>
          <a:bodyPr lIns="91259" tIns="45630" rIns="91259" bIns="45630">
            <a:spAutoFit/>
          </a:bodyPr>
          <a:lstStyle>
            <a:lvl1pPr marL="362179" indent="-362179" algn="l" rtl="0" eaLnBrk="0" fontAlgn="base" hangingPunct="0">
              <a:lnSpc>
                <a:spcPct val="120000"/>
              </a:lnSpc>
              <a:spcBef>
                <a:spcPct val="20000"/>
              </a:spcBef>
              <a:spcAft>
                <a:spcPct val="0"/>
              </a:spcAft>
              <a:buFont typeface="Wingdings" pitchFamily="2" charset="2"/>
              <a:buChar char="Ø"/>
              <a:defRPr sz="2540">
                <a:solidFill>
                  <a:srgbClr val="333333"/>
                </a:solidFill>
                <a:latin typeface="+mn-lt"/>
                <a:ea typeface="+mn-ea"/>
                <a:cs typeface="+mn-cs"/>
              </a:defRPr>
            </a:lvl1pPr>
            <a:lvl2pPr marL="784716" indent="-301817" algn="l" rtl="0" eaLnBrk="0" fontAlgn="base" hangingPunct="0">
              <a:lnSpc>
                <a:spcPct val="120000"/>
              </a:lnSpc>
              <a:spcBef>
                <a:spcPct val="20000"/>
              </a:spcBef>
              <a:spcAft>
                <a:spcPct val="0"/>
              </a:spcAft>
              <a:buFont typeface="Wingdings" pitchFamily="2" charset="2"/>
              <a:buChar char="Ø"/>
              <a:defRPr sz="2222">
                <a:solidFill>
                  <a:srgbClr val="333333"/>
                </a:solidFill>
                <a:latin typeface="+mn-lt"/>
                <a:ea typeface="+mn-ea"/>
              </a:defRPr>
            </a:lvl2pPr>
            <a:lvl3pPr marL="1207262" indent="-241454" algn="l" rtl="0" eaLnBrk="0" fontAlgn="base" hangingPunct="0">
              <a:lnSpc>
                <a:spcPct val="120000"/>
              </a:lnSpc>
              <a:spcBef>
                <a:spcPct val="20000"/>
              </a:spcBef>
              <a:spcAft>
                <a:spcPct val="0"/>
              </a:spcAft>
              <a:buFont typeface="Wingdings" pitchFamily="2" charset="2"/>
              <a:buChar char="Ø"/>
              <a:defRPr sz="2540">
                <a:solidFill>
                  <a:srgbClr val="333333"/>
                </a:solidFill>
                <a:latin typeface="+mn-lt"/>
                <a:ea typeface="+mn-ea"/>
              </a:defRPr>
            </a:lvl3pPr>
            <a:lvl4pPr marL="1690163" indent="-241454" algn="l" rtl="0" eaLnBrk="0" fontAlgn="base" hangingPunct="0">
              <a:lnSpc>
                <a:spcPct val="120000"/>
              </a:lnSpc>
              <a:spcBef>
                <a:spcPct val="20000"/>
              </a:spcBef>
              <a:spcAft>
                <a:spcPct val="0"/>
              </a:spcAft>
              <a:buFont typeface="Wingdings" pitchFamily="2" charset="2"/>
              <a:buChar char="Ø"/>
              <a:defRPr sz="1693">
                <a:solidFill>
                  <a:srgbClr val="333333"/>
                </a:solidFill>
                <a:latin typeface="+mn-lt"/>
                <a:ea typeface="+mn-ea"/>
              </a:defRPr>
            </a:lvl4pPr>
            <a:lvl5pPr marL="2173063" indent="-241454" algn="l" rtl="0" eaLnBrk="0" fontAlgn="base" hangingPunct="0">
              <a:lnSpc>
                <a:spcPct val="120000"/>
              </a:lnSpc>
              <a:spcBef>
                <a:spcPct val="20000"/>
              </a:spcBef>
              <a:spcAft>
                <a:spcPct val="0"/>
              </a:spcAft>
              <a:buFont typeface="Wingdings" pitchFamily="2" charset="2"/>
              <a:buChar char="Ø"/>
              <a:defRPr sz="1693">
                <a:solidFill>
                  <a:srgbClr val="333333"/>
                </a:solidFill>
                <a:latin typeface="+mn-lt"/>
                <a:ea typeface="+mn-ea"/>
              </a:defRPr>
            </a:lvl5pPr>
            <a:lvl6pPr marL="2655972" indent="-241454" algn="l" rtl="0" fontAlgn="base">
              <a:lnSpc>
                <a:spcPct val="120000"/>
              </a:lnSpc>
              <a:spcBef>
                <a:spcPct val="20000"/>
              </a:spcBef>
              <a:spcAft>
                <a:spcPct val="0"/>
              </a:spcAft>
              <a:buFont typeface="Wingdings" pitchFamily="2" charset="2"/>
              <a:buChar char="Ø"/>
              <a:defRPr sz="1693">
                <a:solidFill>
                  <a:srgbClr val="333333"/>
                </a:solidFill>
                <a:latin typeface="+mn-lt"/>
                <a:ea typeface="+mn-ea"/>
              </a:defRPr>
            </a:lvl6pPr>
            <a:lvl7pPr marL="3138877" indent="-241454" algn="l" rtl="0" fontAlgn="base">
              <a:lnSpc>
                <a:spcPct val="120000"/>
              </a:lnSpc>
              <a:spcBef>
                <a:spcPct val="20000"/>
              </a:spcBef>
              <a:spcAft>
                <a:spcPct val="0"/>
              </a:spcAft>
              <a:buFont typeface="Wingdings" pitchFamily="2" charset="2"/>
              <a:buChar char="Ø"/>
              <a:defRPr sz="1693">
                <a:solidFill>
                  <a:srgbClr val="333333"/>
                </a:solidFill>
                <a:latin typeface="+mn-lt"/>
                <a:ea typeface="+mn-ea"/>
              </a:defRPr>
            </a:lvl7pPr>
            <a:lvl8pPr marL="3621783" indent="-241454" algn="l" rtl="0" fontAlgn="base">
              <a:lnSpc>
                <a:spcPct val="120000"/>
              </a:lnSpc>
              <a:spcBef>
                <a:spcPct val="20000"/>
              </a:spcBef>
              <a:spcAft>
                <a:spcPct val="0"/>
              </a:spcAft>
              <a:buFont typeface="Wingdings" pitchFamily="2" charset="2"/>
              <a:buChar char="Ø"/>
              <a:defRPr sz="1693">
                <a:solidFill>
                  <a:srgbClr val="333333"/>
                </a:solidFill>
                <a:latin typeface="+mn-lt"/>
                <a:ea typeface="+mn-ea"/>
              </a:defRPr>
            </a:lvl8pPr>
            <a:lvl9pPr marL="4104685" indent="-241454" algn="l" rtl="0" fontAlgn="base">
              <a:lnSpc>
                <a:spcPct val="120000"/>
              </a:lnSpc>
              <a:spcBef>
                <a:spcPct val="20000"/>
              </a:spcBef>
              <a:spcAft>
                <a:spcPct val="0"/>
              </a:spcAft>
              <a:buFont typeface="Wingdings" pitchFamily="2" charset="2"/>
              <a:buChar char="Ø"/>
              <a:defRPr sz="1693">
                <a:solidFill>
                  <a:srgbClr val="333333"/>
                </a:solidFill>
                <a:latin typeface="+mn-lt"/>
                <a:ea typeface="+mn-ea"/>
              </a:defRPr>
            </a:lvl9pPr>
          </a:lstStyle>
          <a:p>
            <a:pPr defTabSz="914377">
              <a:lnSpc>
                <a:spcPct val="150000"/>
              </a:lnSpc>
              <a:buFont typeface="Wingdings" pitchFamily="2" charset="2"/>
              <a:buChar char="u"/>
              <a:defRPr/>
            </a:pPr>
            <a:r>
              <a:rPr lang="zh-CN" altLang="en-US" sz="2000" kern="0" dirty="0" smtClean="0">
                <a:solidFill>
                  <a:schemeClr val="tx1"/>
                </a:solidFill>
                <a:latin typeface="+mj-ea"/>
                <a:ea typeface="+mj-ea"/>
              </a:rPr>
              <a:t>网络视频能覆盖主流人群，但主流人群一年往往就看几部剧</a:t>
            </a:r>
            <a:endParaRPr lang="en-US" altLang="zh-CN" sz="2000" kern="0" dirty="0" smtClean="0">
              <a:solidFill>
                <a:schemeClr val="tx1"/>
              </a:solidFill>
              <a:latin typeface="+mj-ea"/>
              <a:ea typeface="+mj-ea"/>
            </a:endParaRPr>
          </a:p>
          <a:p>
            <a:pPr defTabSz="914377">
              <a:lnSpc>
                <a:spcPct val="150000"/>
              </a:lnSpc>
              <a:buFont typeface="Wingdings" pitchFamily="2" charset="2"/>
              <a:buChar char="u"/>
              <a:defRPr/>
            </a:pPr>
            <a:r>
              <a:rPr lang="zh-CN" altLang="en-US" sz="2000" kern="0" dirty="0" smtClean="0">
                <a:solidFill>
                  <a:schemeClr val="tx1"/>
                </a:solidFill>
                <a:latin typeface="+mj-ea"/>
                <a:ea typeface="+mj-ea"/>
              </a:rPr>
              <a:t> 入口太多，内容节目太多，必须赌对几部剧，否则很难被关注</a:t>
            </a:r>
            <a:endParaRPr lang="en-US" altLang="zh-CN" sz="2000" kern="0" dirty="0" smtClean="0">
              <a:solidFill>
                <a:schemeClr val="tx1"/>
              </a:solidFill>
              <a:latin typeface="+mj-ea"/>
              <a:ea typeface="+mj-ea"/>
            </a:endParaRPr>
          </a:p>
          <a:p>
            <a:pPr defTabSz="914377">
              <a:lnSpc>
                <a:spcPct val="150000"/>
              </a:lnSpc>
              <a:buFont typeface="Wingdings" pitchFamily="2" charset="2"/>
              <a:buChar char="u"/>
              <a:defRPr/>
            </a:pPr>
            <a:r>
              <a:rPr lang="zh-CN" altLang="en-US" sz="2000" kern="0" dirty="0" smtClean="0">
                <a:solidFill>
                  <a:schemeClr val="tx1"/>
                </a:solidFill>
                <a:latin typeface="+mj-ea"/>
                <a:ea typeface="+mj-ea"/>
              </a:rPr>
              <a:t>几千万主流用户看热剧还送</a:t>
            </a:r>
            <a:r>
              <a:rPr lang="en-US" altLang="zh-CN" sz="2000" kern="0" dirty="0" smtClean="0">
                <a:solidFill>
                  <a:schemeClr val="tx1"/>
                </a:solidFill>
                <a:latin typeface="+mj-ea"/>
                <a:ea typeface="+mj-ea"/>
              </a:rPr>
              <a:t>VIP</a:t>
            </a:r>
            <a:r>
              <a:rPr lang="zh-CN" altLang="en-US" sz="2000" kern="0" dirty="0" smtClean="0">
                <a:solidFill>
                  <a:schemeClr val="tx1"/>
                </a:solidFill>
                <a:latin typeface="+mj-ea"/>
                <a:ea typeface="+mj-ea"/>
              </a:rPr>
              <a:t>，一次看完免除广告</a:t>
            </a:r>
            <a:r>
              <a:rPr lang="zh-CN" altLang="en-US" sz="2000" kern="0" dirty="0">
                <a:solidFill>
                  <a:schemeClr val="tx1"/>
                </a:solidFill>
                <a:latin typeface="+mj-ea"/>
                <a:ea typeface="+mj-ea"/>
              </a:rPr>
              <a:t>，</a:t>
            </a:r>
            <a:r>
              <a:rPr lang="zh-CN" altLang="en-US" sz="2000" kern="0" dirty="0" smtClean="0">
                <a:solidFill>
                  <a:schemeClr val="tx1"/>
                </a:solidFill>
                <a:latin typeface="+mj-ea"/>
                <a:ea typeface="+mj-ea"/>
              </a:rPr>
              <a:t>真正靠网络视频引爆的品牌是稀少的</a:t>
            </a:r>
            <a:endParaRPr lang="en-US" altLang="zh-CN" sz="2000" kern="0" dirty="0">
              <a:solidFill>
                <a:schemeClr val="tx1"/>
              </a:solidFill>
              <a:latin typeface="+mj-ea"/>
              <a:ea typeface="+mj-ea"/>
            </a:endParaRPr>
          </a:p>
        </p:txBody>
      </p:sp>
      <p:grpSp>
        <p:nvGrpSpPr>
          <p:cNvPr id="152578" name="组合 9"/>
          <p:cNvGrpSpPr>
            <a:grpSpLocks/>
          </p:cNvGrpSpPr>
          <p:nvPr/>
        </p:nvGrpSpPr>
        <p:grpSpPr bwMode="auto">
          <a:xfrm>
            <a:off x="6251575" y="2995613"/>
            <a:ext cx="5421313" cy="3351212"/>
            <a:chOff x="637668" y="1320218"/>
            <a:chExt cx="9502040" cy="4630805"/>
          </a:xfrm>
        </p:grpSpPr>
        <p:pic>
          <p:nvPicPr>
            <p:cNvPr id="11" name="Picture 11" descr="老九门">
              <a:hlinkClick r:id="rId2" tooltip="老九门"/>
            </p:cNvPr>
            <p:cNvPicPr>
              <a:picLocks noChangeAspect="1" noChangeArrowheads="1"/>
            </p:cNvPicPr>
            <p:nvPr/>
          </p:nvPicPr>
          <p:blipFill>
            <a:blip r:embed="rId3"/>
            <a:srcRect/>
            <a:stretch>
              <a:fillRect/>
            </a:stretch>
          </p:blipFill>
          <p:spPr bwMode="auto">
            <a:xfrm>
              <a:off x="6605465" y="2875052"/>
              <a:ext cx="1154108" cy="1507450"/>
            </a:xfrm>
            <a:prstGeom prst="rect">
              <a:avLst/>
            </a:prstGeom>
            <a:noFill/>
          </p:spPr>
        </p:pic>
        <p:pic>
          <p:nvPicPr>
            <p:cNvPr id="12" name="Picture 13" descr="多少爱可以重来">
              <a:hlinkClick r:id="rId4" tooltip="多少爱可以重来"/>
            </p:cNvPr>
            <p:cNvPicPr>
              <a:picLocks noChangeAspect="1" noChangeArrowheads="1"/>
            </p:cNvPicPr>
            <p:nvPr/>
          </p:nvPicPr>
          <p:blipFill>
            <a:blip r:embed="rId5"/>
            <a:srcRect/>
            <a:stretch>
              <a:fillRect/>
            </a:stretch>
          </p:blipFill>
          <p:spPr bwMode="auto">
            <a:xfrm>
              <a:off x="6605465" y="1325495"/>
              <a:ext cx="1154108" cy="1499028"/>
            </a:xfrm>
            <a:prstGeom prst="rect">
              <a:avLst/>
            </a:prstGeom>
            <a:noFill/>
          </p:spPr>
        </p:pic>
        <p:pic>
          <p:nvPicPr>
            <p:cNvPr id="13" name="Picture 14" descr="校花的贴身高手2">
              <a:hlinkClick r:id="rId6" tooltip="校花的贴身高手2"/>
            </p:cNvPr>
            <p:cNvPicPr>
              <a:picLocks noChangeAspect="1" noChangeArrowheads="1"/>
            </p:cNvPicPr>
            <p:nvPr/>
          </p:nvPicPr>
          <p:blipFill>
            <a:blip r:embed="rId7"/>
            <a:srcRect/>
            <a:stretch>
              <a:fillRect/>
            </a:stretch>
          </p:blipFill>
          <p:spPr bwMode="auto">
            <a:xfrm>
              <a:off x="8977799" y="1308652"/>
              <a:ext cx="1154108" cy="1507450"/>
            </a:xfrm>
            <a:prstGeom prst="rect">
              <a:avLst/>
            </a:prstGeom>
            <a:noFill/>
          </p:spPr>
        </p:pic>
        <p:pic>
          <p:nvPicPr>
            <p:cNvPr id="14" name="Picture 15" descr="幸福满屋">
              <a:hlinkClick r:id="rId8" tooltip="幸福满屋"/>
            </p:cNvPr>
            <p:cNvPicPr>
              <a:picLocks noChangeAspect="1" noChangeArrowheads="1"/>
            </p:cNvPicPr>
            <p:nvPr/>
          </p:nvPicPr>
          <p:blipFill>
            <a:blip r:embed="rId9"/>
            <a:srcRect/>
            <a:stretch>
              <a:fillRect/>
            </a:stretch>
          </p:blipFill>
          <p:spPr bwMode="auto">
            <a:xfrm>
              <a:off x="7791632" y="1308652"/>
              <a:ext cx="1154108" cy="1507450"/>
            </a:xfrm>
            <a:prstGeom prst="rect">
              <a:avLst/>
            </a:prstGeom>
            <a:noFill/>
          </p:spPr>
        </p:pic>
        <p:pic>
          <p:nvPicPr>
            <p:cNvPr id="15" name="Picture 3" descr="秀丽江山之长歌行">
              <a:hlinkClick r:id="rId10" tooltip="秀丽江山之长歌行"/>
            </p:cNvPr>
            <p:cNvPicPr>
              <a:picLocks noChangeAspect="1" noChangeArrowheads="1"/>
            </p:cNvPicPr>
            <p:nvPr/>
          </p:nvPicPr>
          <p:blipFill>
            <a:blip r:embed="rId11"/>
            <a:srcRect/>
            <a:stretch>
              <a:fillRect/>
            </a:stretch>
          </p:blipFill>
          <p:spPr bwMode="auto">
            <a:xfrm>
              <a:off x="3014905" y="2891896"/>
              <a:ext cx="1143422" cy="1482185"/>
            </a:xfrm>
            <a:prstGeom prst="rect">
              <a:avLst/>
            </a:prstGeom>
            <a:noFill/>
          </p:spPr>
        </p:pic>
        <p:pic>
          <p:nvPicPr>
            <p:cNvPr id="16" name="Picture 4" descr="神犬小七第二季">
              <a:hlinkClick r:id="rId12" tooltip="神犬小七第二季"/>
            </p:cNvPr>
            <p:cNvPicPr>
              <a:picLocks noChangeAspect="1" noChangeArrowheads="1"/>
            </p:cNvPicPr>
            <p:nvPr/>
          </p:nvPicPr>
          <p:blipFill>
            <a:blip r:embed="rId13"/>
            <a:srcRect/>
            <a:stretch>
              <a:fillRect/>
            </a:stretch>
          </p:blipFill>
          <p:spPr bwMode="auto">
            <a:xfrm>
              <a:off x="4211758" y="2891896"/>
              <a:ext cx="1143422" cy="1482185"/>
            </a:xfrm>
            <a:prstGeom prst="rect">
              <a:avLst/>
            </a:prstGeom>
            <a:noFill/>
          </p:spPr>
        </p:pic>
        <p:pic>
          <p:nvPicPr>
            <p:cNvPr id="17" name="Picture 5" descr="酸甜苦辣小夫妻">
              <a:hlinkClick r:id="rId14" tooltip="酸甜苦辣小夫妻"/>
            </p:cNvPr>
            <p:cNvPicPr>
              <a:picLocks noChangeAspect="1" noChangeArrowheads="1"/>
            </p:cNvPicPr>
            <p:nvPr/>
          </p:nvPicPr>
          <p:blipFill>
            <a:blip r:embed="rId15"/>
            <a:srcRect/>
            <a:stretch>
              <a:fillRect/>
            </a:stretch>
          </p:blipFill>
          <p:spPr bwMode="auto">
            <a:xfrm>
              <a:off x="1850110" y="2891896"/>
              <a:ext cx="1132736" cy="1482185"/>
            </a:xfrm>
            <a:prstGeom prst="rect">
              <a:avLst/>
            </a:prstGeom>
            <a:noFill/>
          </p:spPr>
        </p:pic>
        <p:pic>
          <p:nvPicPr>
            <p:cNvPr id="18" name="Picture 6" descr="马兰谣">
              <a:hlinkClick r:id="rId16" tooltip="马兰谣"/>
            </p:cNvPr>
            <p:cNvPicPr>
              <a:picLocks noChangeAspect="1" noChangeArrowheads="1"/>
            </p:cNvPicPr>
            <p:nvPr/>
          </p:nvPicPr>
          <p:blipFill>
            <a:blip r:embed="rId17"/>
            <a:srcRect/>
            <a:stretch>
              <a:fillRect/>
            </a:stretch>
          </p:blipFill>
          <p:spPr bwMode="auto">
            <a:xfrm>
              <a:off x="642571" y="2891896"/>
              <a:ext cx="1143422" cy="1482185"/>
            </a:xfrm>
            <a:prstGeom prst="rect">
              <a:avLst/>
            </a:prstGeom>
            <a:noFill/>
          </p:spPr>
        </p:pic>
        <p:pic>
          <p:nvPicPr>
            <p:cNvPr id="19" name="Picture 7" descr="嫁个老公过日子">
              <a:hlinkClick r:id="rId18" tooltip="嫁个老公过日子"/>
            </p:cNvPr>
            <p:cNvPicPr>
              <a:picLocks noChangeAspect="1" noChangeArrowheads="1"/>
            </p:cNvPicPr>
            <p:nvPr/>
          </p:nvPicPr>
          <p:blipFill>
            <a:blip r:embed="rId19"/>
            <a:srcRect/>
            <a:stretch>
              <a:fillRect/>
            </a:stretch>
          </p:blipFill>
          <p:spPr bwMode="auto">
            <a:xfrm>
              <a:off x="631885" y="1333917"/>
              <a:ext cx="1132736" cy="1482185"/>
            </a:xfrm>
            <a:prstGeom prst="rect">
              <a:avLst/>
            </a:prstGeom>
            <a:noFill/>
          </p:spPr>
        </p:pic>
        <p:pic>
          <p:nvPicPr>
            <p:cNvPr id="20" name="Picture 8" descr="硬骨头">
              <a:hlinkClick r:id="rId20" tooltip="硬骨头"/>
            </p:cNvPr>
            <p:cNvPicPr>
              <a:picLocks noChangeAspect="1" noChangeArrowheads="1"/>
            </p:cNvPicPr>
            <p:nvPr/>
          </p:nvPicPr>
          <p:blipFill>
            <a:blip r:embed="rId21"/>
            <a:srcRect/>
            <a:stretch>
              <a:fillRect/>
            </a:stretch>
          </p:blipFill>
          <p:spPr bwMode="auto">
            <a:xfrm>
              <a:off x="1818052" y="1333917"/>
              <a:ext cx="1143422" cy="1482185"/>
            </a:xfrm>
            <a:prstGeom prst="rect">
              <a:avLst/>
            </a:prstGeom>
            <a:noFill/>
          </p:spPr>
        </p:pic>
        <p:pic>
          <p:nvPicPr>
            <p:cNvPr id="21" name="Picture 9" descr="我的爱情撞上了战争">
              <a:hlinkClick r:id="rId22" tooltip="我的爱情撞上了战争"/>
            </p:cNvPr>
            <p:cNvPicPr>
              <a:picLocks noChangeAspect="1" noChangeArrowheads="1"/>
            </p:cNvPicPr>
            <p:nvPr/>
          </p:nvPicPr>
          <p:blipFill>
            <a:blip r:embed="rId23"/>
            <a:srcRect/>
            <a:stretch>
              <a:fillRect/>
            </a:stretch>
          </p:blipFill>
          <p:spPr bwMode="auto">
            <a:xfrm>
              <a:off x="3014905" y="1350760"/>
              <a:ext cx="1143422" cy="1482185"/>
            </a:xfrm>
            <a:prstGeom prst="rect">
              <a:avLst/>
            </a:prstGeom>
            <a:noFill/>
          </p:spPr>
        </p:pic>
        <p:pic>
          <p:nvPicPr>
            <p:cNvPr id="22" name="Picture 10" descr="灭罪师">
              <a:hlinkClick r:id="rId24" tooltip="灭罪师"/>
            </p:cNvPr>
            <p:cNvPicPr>
              <a:picLocks noChangeAspect="1" noChangeArrowheads="1"/>
            </p:cNvPicPr>
            <p:nvPr/>
          </p:nvPicPr>
          <p:blipFill>
            <a:blip r:embed="rId25"/>
            <a:srcRect/>
            <a:stretch>
              <a:fillRect/>
            </a:stretch>
          </p:blipFill>
          <p:spPr bwMode="auto">
            <a:xfrm>
              <a:off x="4211758" y="1342338"/>
              <a:ext cx="1143422" cy="1482185"/>
            </a:xfrm>
            <a:prstGeom prst="rect">
              <a:avLst/>
            </a:prstGeom>
            <a:noFill/>
          </p:spPr>
        </p:pic>
        <p:pic>
          <p:nvPicPr>
            <p:cNvPr id="23" name="Picture 12" descr="幻城">
              <a:hlinkClick r:id="rId26" tooltip="幻城"/>
            </p:cNvPr>
            <p:cNvPicPr>
              <a:picLocks noChangeAspect="1" noChangeArrowheads="1"/>
            </p:cNvPicPr>
            <p:nvPr/>
          </p:nvPicPr>
          <p:blipFill>
            <a:blip r:embed="rId27"/>
            <a:srcRect/>
            <a:stretch>
              <a:fillRect/>
            </a:stretch>
          </p:blipFill>
          <p:spPr bwMode="auto">
            <a:xfrm>
              <a:off x="5408612" y="1342338"/>
              <a:ext cx="1143422" cy="1482185"/>
            </a:xfrm>
            <a:prstGeom prst="rect">
              <a:avLst/>
            </a:prstGeom>
            <a:noFill/>
          </p:spPr>
        </p:pic>
        <p:pic>
          <p:nvPicPr>
            <p:cNvPr id="24" name="Picture 16" descr="天机谜第1季">
              <a:hlinkClick r:id="rId28" tooltip="天机谜第1季"/>
            </p:cNvPr>
            <p:cNvPicPr>
              <a:picLocks noChangeAspect="1" noChangeArrowheads="1"/>
            </p:cNvPicPr>
            <p:nvPr/>
          </p:nvPicPr>
          <p:blipFill>
            <a:blip r:embed="rId29"/>
            <a:srcRect/>
            <a:stretch>
              <a:fillRect/>
            </a:stretch>
          </p:blipFill>
          <p:spPr bwMode="auto">
            <a:xfrm>
              <a:off x="5408612" y="2891896"/>
              <a:ext cx="1143422" cy="1482185"/>
            </a:xfrm>
            <a:prstGeom prst="rect">
              <a:avLst/>
            </a:prstGeom>
            <a:noFill/>
          </p:spPr>
        </p:pic>
        <p:pic>
          <p:nvPicPr>
            <p:cNvPr id="25" name="Picture 7" descr="青春朋友圈">
              <a:hlinkClick r:id="rId30" tooltip="青春朋友圈"/>
            </p:cNvPr>
            <p:cNvPicPr>
              <a:picLocks noChangeAspect="1" noChangeArrowheads="1"/>
            </p:cNvPicPr>
            <p:nvPr/>
          </p:nvPicPr>
          <p:blipFill>
            <a:blip r:embed="rId31"/>
            <a:srcRect/>
            <a:stretch>
              <a:fillRect/>
            </a:stretch>
          </p:blipFill>
          <p:spPr bwMode="auto">
            <a:xfrm>
              <a:off x="5408612" y="4458296"/>
              <a:ext cx="1154108" cy="1499028"/>
            </a:xfrm>
            <a:prstGeom prst="rect">
              <a:avLst/>
            </a:prstGeom>
            <a:noFill/>
          </p:spPr>
        </p:pic>
        <p:pic>
          <p:nvPicPr>
            <p:cNvPr id="26" name="Picture 8" descr="爱情公寓外传之开心原力">
              <a:hlinkClick r:id="rId32" tooltip="爱情公寓外传之开心原力"/>
            </p:cNvPr>
            <p:cNvPicPr>
              <a:picLocks noChangeAspect="1" noChangeArrowheads="1"/>
            </p:cNvPicPr>
            <p:nvPr/>
          </p:nvPicPr>
          <p:blipFill>
            <a:blip r:embed="rId33"/>
            <a:srcRect/>
            <a:stretch>
              <a:fillRect/>
            </a:stretch>
          </p:blipFill>
          <p:spPr bwMode="auto">
            <a:xfrm>
              <a:off x="4211758" y="4458296"/>
              <a:ext cx="1154108" cy="1499028"/>
            </a:xfrm>
            <a:prstGeom prst="rect">
              <a:avLst/>
            </a:prstGeom>
            <a:noFill/>
          </p:spPr>
        </p:pic>
        <p:pic>
          <p:nvPicPr>
            <p:cNvPr id="27" name="Picture 9" descr="哎呀我去之天龙八部">
              <a:hlinkClick r:id="rId34" tooltip="哎呀我去之天龙八部"/>
            </p:cNvPr>
            <p:cNvPicPr>
              <a:picLocks noChangeAspect="1" noChangeArrowheads="1"/>
            </p:cNvPicPr>
            <p:nvPr/>
          </p:nvPicPr>
          <p:blipFill>
            <a:blip r:embed="rId35"/>
            <a:srcRect/>
            <a:stretch>
              <a:fillRect/>
            </a:stretch>
          </p:blipFill>
          <p:spPr bwMode="auto">
            <a:xfrm>
              <a:off x="3014905" y="4458296"/>
              <a:ext cx="1164795" cy="1499028"/>
            </a:xfrm>
            <a:prstGeom prst="rect">
              <a:avLst/>
            </a:prstGeom>
            <a:noFill/>
          </p:spPr>
        </p:pic>
        <p:pic>
          <p:nvPicPr>
            <p:cNvPr id="28" name="Picture 16" descr="警花与警犬">
              <a:hlinkClick r:id="rId36" tooltip="警花与警犬"/>
            </p:cNvPr>
            <p:cNvPicPr>
              <a:picLocks noChangeAspect="1" noChangeArrowheads="1"/>
            </p:cNvPicPr>
            <p:nvPr/>
          </p:nvPicPr>
          <p:blipFill>
            <a:blip r:embed="rId37"/>
            <a:srcRect/>
            <a:stretch>
              <a:fillRect/>
            </a:stretch>
          </p:blipFill>
          <p:spPr bwMode="auto">
            <a:xfrm>
              <a:off x="642571" y="4458296"/>
              <a:ext cx="1154108" cy="1499028"/>
            </a:xfrm>
            <a:prstGeom prst="rect">
              <a:avLst/>
            </a:prstGeom>
            <a:noFill/>
          </p:spPr>
        </p:pic>
        <p:pic>
          <p:nvPicPr>
            <p:cNvPr id="29" name="Picture 17" descr="家有儿女 第四部">
              <a:hlinkClick r:id="rId38" tooltip="家有儿女 第四部"/>
            </p:cNvPr>
            <p:cNvPicPr>
              <a:picLocks noChangeAspect="1" noChangeArrowheads="1"/>
            </p:cNvPicPr>
            <p:nvPr/>
          </p:nvPicPr>
          <p:blipFill>
            <a:blip r:embed="rId39"/>
            <a:srcRect/>
            <a:stretch>
              <a:fillRect/>
            </a:stretch>
          </p:blipFill>
          <p:spPr bwMode="auto">
            <a:xfrm>
              <a:off x="1839424" y="4458296"/>
              <a:ext cx="1154108" cy="1499028"/>
            </a:xfrm>
            <a:prstGeom prst="rect">
              <a:avLst/>
            </a:prstGeom>
            <a:noFill/>
          </p:spPr>
        </p:pic>
        <p:pic>
          <p:nvPicPr>
            <p:cNvPr id="30" name="Picture 18" descr="爱情公寓4">
              <a:hlinkClick r:id="rId40" tooltip="爱情公寓4"/>
            </p:cNvPr>
            <p:cNvPicPr>
              <a:picLocks noChangeAspect="1" noChangeArrowheads="1"/>
            </p:cNvPicPr>
            <p:nvPr/>
          </p:nvPicPr>
          <p:blipFill>
            <a:blip r:embed="rId41"/>
            <a:srcRect/>
            <a:stretch>
              <a:fillRect/>
            </a:stretch>
          </p:blipFill>
          <p:spPr bwMode="auto">
            <a:xfrm>
              <a:off x="6626837" y="4458296"/>
              <a:ext cx="1154108" cy="1499028"/>
            </a:xfrm>
            <a:prstGeom prst="rect">
              <a:avLst/>
            </a:prstGeom>
            <a:noFill/>
          </p:spPr>
        </p:pic>
        <p:pic>
          <p:nvPicPr>
            <p:cNvPr id="31" name="Picture 19" descr="蜀山战纪第1季">
              <a:hlinkClick r:id="rId42" tooltip="蜀山战纪第1季"/>
            </p:cNvPr>
            <p:cNvPicPr>
              <a:picLocks noChangeAspect="1" noChangeArrowheads="1"/>
            </p:cNvPicPr>
            <p:nvPr/>
          </p:nvPicPr>
          <p:blipFill>
            <a:blip r:embed="rId43"/>
            <a:srcRect/>
            <a:stretch>
              <a:fillRect/>
            </a:stretch>
          </p:blipFill>
          <p:spPr bwMode="auto">
            <a:xfrm>
              <a:off x="7823690" y="4458296"/>
              <a:ext cx="1154108" cy="1499028"/>
            </a:xfrm>
            <a:prstGeom prst="rect">
              <a:avLst/>
            </a:prstGeom>
            <a:noFill/>
          </p:spPr>
        </p:pic>
        <p:pic>
          <p:nvPicPr>
            <p:cNvPr id="32" name="Picture 20" descr="盗墓笔记">
              <a:hlinkClick r:id="rId44" tooltip="盗墓笔记"/>
            </p:cNvPr>
            <p:cNvPicPr>
              <a:picLocks noChangeAspect="1" noChangeArrowheads="1"/>
            </p:cNvPicPr>
            <p:nvPr/>
          </p:nvPicPr>
          <p:blipFill>
            <a:blip r:embed="rId45"/>
            <a:srcRect/>
            <a:stretch>
              <a:fillRect/>
            </a:stretch>
          </p:blipFill>
          <p:spPr bwMode="auto">
            <a:xfrm>
              <a:off x="8999171" y="4458296"/>
              <a:ext cx="1154108" cy="1499028"/>
            </a:xfrm>
            <a:prstGeom prst="rect">
              <a:avLst/>
            </a:prstGeom>
            <a:noFill/>
          </p:spPr>
        </p:pic>
        <p:pic>
          <p:nvPicPr>
            <p:cNvPr id="33" name="Picture 5" descr="没有承诺的爱">
              <a:hlinkClick r:id="rId46" tooltip="没有承诺的爱"/>
            </p:cNvPr>
            <p:cNvPicPr>
              <a:picLocks noChangeAspect="1" noChangeArrowheads="1"/>
            </p:cNvPicPr>
            <p:nvPr/>
          </p:nvPicPr>
          <p:blipFill>
            <a:blip r:embed="rId47"/>
            <a:srcRect/>
            <a:stretch>
              <a:fillRect/>
            </a:stretch>
          </p:blipFill>
          <p:spPr bwMode="auto">
            <a:xfrm>
              <a:off x="8988485" y="2891896"/>
              <a:ext cx="1154108" cy="1499028"/>
            </a:xfrm>
            <a:prstGeom prst="rect">
              <a:avLst/>
            </a:prstGeom>
            <a:noFill/>
          </p:spPr>
        </p:pic>
        <p:pic>
          <p:nvPicPr>
            <p:cNvPr id="34" name="Picture 6" descr="逗爱男女">
              <a:hlinkClick r:id="rId48" tooltip="逗爱男女"/>
            </p:cNvPr>
            <p:cNvPicPr>
              <a:picLocks noChangeAspect="1" noChangeArrowheads="1"/>
            </p:cNvPicPr>
            <p:nvPr/>
          </p:nvPicPr>
          <p:blipFill>
            <a:blip r:embed="rId49"/>
            <a:srcRect/>
            <a:stretch>
              <a:fillRect/>
            </a:stretch>
          </p:blipFill>
          <p:spPr bwMode="auto">
            <a:xfrm>
              <a:off x="7802318" y="2875052"/>
              <a:ext cx="1154108" cy="1507450"/>
            </a:xfrm>
            <a:prstGeom prst="rect">
              <a:avLst/>
            </a:prstGeom>
            <a:noFill/>
          </p:spPr>
        </p:pic>
      </p:grpSp>
      <p:pic>
        <p:nvPicPr>
          <p:cNvPr id="35" name="图片 34"/>
          <p:cNvPicPr>
            <a:picLocks noChangeAspect="1"/>
          </p:cNvPicPr>
          <p:nvPr/>
        </p:nvPicPr>
        <p:blipFill>
          <a:blip r:embed="rId50"/>
          <a:stretch>
            <a:fillRect/>
          </a:stretch>
        </p:blipFill>
        <p:spPr>
          <a:xfrm>
            <a:off x="6396038" y="3571875"/>
            <a:ext cx="1663700" cy="2278063"/>
          </a:xfrm>
          <a:prstGeom prst="rect">
            <a:avLst/>
          </a:prstGeom>
          <a:effectLst>
            <a:outerShdw blurRad="139700" dist="127000" dir="1860000" algn="tl" rotWithShape="0">
              <a:prstClr val="black">
                <a:alpha val="40000"/>
              </a:prstClr>
            </a:outerShdw>
          </a:effectLst>
        </p:spPr>
      </p:pic>
      <p:pic>
        <p:nvPicPr>
          <p:cNvPr id="36" name="图片 35"/>
          <p:cNvPicPr>
            <a:picLocks noChangeAspect="1"/>
          </p:cNvPicPr>
          <p:nvPr/>
        </p:nvPicPr>
        <p:blipFill>
          <a:blip r:embed="rId51"/>
          <a:srcRect/>
          <a:stretch>
            <a:fillRect/>
          </a:stretch>
        </p:blipFill>
        <p:spPr bwMode="auto">
          <a:xfrm>
            <a:off x="8212138" y="3571875"/>
            <a:ext cx="1662112" cy="2278063"/>
          </a:xfrm>
          <a:prstGeom prst="rect">
            <a:avLst/>
          </a:prstGeom>
          <a:noFill/>
          <a:ln w="9525">
            <a:noFill/>
            <a:miter lim="800000"/>
            <a:headEnd/>
            <a:tailEnd/>
          </a:ln>
          <a:effectLst>
            <a:outerShdw dist="127000" dir="1860007" algn="tl" rotWithShape="0">
              <a:srgbClr val="000000">
                <a:alpha val="39999"/>
              </a:srgbClr>
            </a:outerShdw>
          </a:effectLst>
        </p:spPr>
      </p:pic>
      <p:pic>
        <p:nvPicPr>
          <p:cNvPr id="37" name="Picture 18" descr="太阳的后裔"/>
          <p:cNvPicPr>
            <a:picLocks noChangeAspect="1" noChangeArrowheads="1"/>
          </p:cNvPicPr>
          <p:nvPr/>
        </p:nvPicPr>
        <p:blipFill rotWithShape="1">
          <a:blip r:embed="rId52"/>
          <a:srcRect/>
          <a:stretch/>
        </p:blipFill>
        <p:spPr bwMode="auto">
          <a:xfrm>
            <a:off x="9945688" y="3525838"/>
            <a:ext cx="1635125" cy="2324100"/>
          </a:xfrm>
          <a:prstGeom prst="rect">
            <a:avLst/>
          </a:prstGeom>
          <a:effectLst>
            <a:outerShdw blurRad="139700" dist="127000" dir="1860000" algn="tl" rotWithShape="0">
              <a:prstClr val="black">
                <a:alpha val="40000"/>
              </a:prstClr>
            </a:outerShdw>
          </a:effectLst>
          <a:extLst>
            <a:ext uri="{909E8E84-426E-40DD-AFC4-6F175D3DCCD1}"/>
          </a:extLst>
        </p:spPr>
      </p:pic>
      <p:pic>
        <p:nvPicPr>
          <p:cNvPr id="152582" name="Picture 3" descr="C:\Users\ADMIN\Desktop\图片1.png"/>
          <p:cNvPicPr>
            <a:picLocks noChangeAspect="1" noChangeArrowheads="1"/>
          </p:cNvPicPr>
          <p:nvPr/>
        </p:nvPicPr>
        <p:blipFill>
          <a:blip r:embed="rId53"/>
          <a:srcRect/>
          <a:stretch>
            <a:fillRect/>
          </a:stretch>
        </p:blipFill>
        <p:spPr bwMode="auto">
          <a:xfrm>
            <a:off x="488950" y="3011488"/>
            <a:ext cx="5791200" cy="3352800"/>
          </a:xfrm>
          <a:prstGeom prst="rect">
            <a:avLst/>
          </a:prstGeom>
          <a:noFill/>
          <a:ln w="9525">
            <a:noFill/>
            <a:miter lim="800000"/>
            <a:headEnd/>
            <a:tailEnd/>
          </a:ln>
        </p:spPr>
      </p:pic>
      <p:sp>
        <p:nvSpPr>
          <p:cNvPr id="152583" name="标题 1"/>
          <p:cNvSpPr>
            <a:spLocks noGrp="1"/>
          </p:cNvSpPr>
          <p:nvPr>
            <p:ph type="title"/>
          </p:nvPr>
        </p:nvSpPr>
        <p:spPr bwMode="auto">
          <a:xfrm>
            <a:off x="442913" y="377825"/>
            <a:ext cx="10369550" cy="1143000"/>
          </a:xfrm>
          <a:noFill/>
          <a:ln>
            <a:miter lim="800000"/>
            <a:headEnd/>
            <a:tailEnd/>
          </a:ln>
        </p:spPr>
        <p:txBody>
          <a:bodyPr vert="horz" wrap="square" lIns="121917" tIns="60958" rIns="121917" bIns="60958" numCol="1" anchor="t" anchorCtr="0" compatLnSpc="1">
            <a:prstTxWarp prst="textNoShape">
              <a:avLst/>
            </a:prstTxWarp>
          </a:bodyPr>
          <a:lstStyle/>
          <a:p>
            <a:pPr algn="ctr"/>
            <a:r>
              <a:rPr lang="zh-CN" altLang="en-US" sz="3700" smtClean="0"/>
              <a:t>主流人群媒体习惯的巨变</a:t>
            </a:r>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1" name="标题 1"/>
          <p:cNvSpPr>
            <a:spLocks noGrp="1"/>
          </p:cNvSpPr>
          <p:nvPr>
            <p:ph type="title"/>
          </p:nvPr>
        </p:nvSpPr>
        <p:spPr bwMode="auto">
          <a:xfrm>
            <a:off x="838200" y="295275"/>
            <a:ext cx="9253538" cy="666750"/>
          </a:xfrm>
          <a:noFill/>
          <a:ln>
            <a:miter lim="800000"/>
            <a:headEnd/>
            <a:tailEnd/>
          </a:ln>
        </p:spPr>
        <p:txBody>
          <a:bodyPr wrap="square" numCol="1" anchorCtr="0" compatLnSpc="1">
            <a:prstTxWarp prst="textNoShape">
              <a:avLst/>
            </a:prstTxWarp>
          </a:bodyPr>
          <a:lstStyle/>
          <a:p>
            <a:pPr algn="ctr"/>
            <a:r>
              <a:rPr lang="zh-CN" altLang="en-US" sz="3700" b="1" smtClean="0"/>
              <a:t>分众抓住了主流人群的核心场景</a:t>
            </a:r>
          </a:p>
        </p:txBody>
      </p:sp>
      <p:sp>
        <p:nvSpPr>
          <p:cNvPr id="13" name="矩形 12"/>
          <p:cNvSpPr/>
          <p:nvPr/>
        </p:nvSpPr>
        <p:spPr>
          <a:xfrm>
            <a:off x="382588" y="5018088"/>
            <a:ext cx="11641137" cy="946150"/>
          </a:xfrm>
          <a:prstGeom prst="rect">
            <a:avLst/>
          </a:prstGeom>
        </p:spPr>
        <p:txBody>
          <a:bodyPr lIns="91438" tIns="45719" rIns="91438" bIns="45719">
            <a:spAutoFit/>
          </a:bodyPr>
          <a:lstStyle/>
          <a:p>
            <a:pPr algn="ctr" defTabSz="914377" fontAlgn="auto">
              <a:lnSpc>
                <a:spcPct val="150000"/>
              </a:lnSpc>
              <a:spcBef>
                <a:spcPts val="0"/>
              </a:spcBef>
              <a:spcAft>
                <a:spcPts val="0"/>
              </a:spcAft>
              <a:buClr>
                <a:srgbClr val="FFFFFF"/>
              </a:buClr>
              <a:defRPr/>
            </a:pPr>
            <a:r>
              <a:rPr lang="zh-CN" altLang="en-US" sz="3700" b="1" dirty="0">
                <a:solidFill>
                  <a:srgbClr val="FF0000"/>
                </a:solidFill>
                <a:latin typeface="+mj-lt"/>
                <a:ea typeface="+mj-ea"/>
                <a:cs typeface="+mj-cs"/>
              </a:rPr>
              <a:t>电梯是城市的基础设施</a:t>
            </a:r>
            <a:endParaRPr lang="zh-CN" altLang="en-US" sz="3700" b="1" dirty="0">
              <a:solidFill>
                <a:srgbClr val="FF0000"/>
              </a:solidFill>
              <a:latin typeface="+mj-lt"/>
              <a:ea typeface="+mj-ea"/>
              <a:cs typeface="+mj-cs"/>
            </a:endParaRPr>
          </a:p>
        </p:txBody>
      </p:sp>
      <p:sp>
        <p:nvSpPr>
          <p:cNvPr id="153603" name="矩形 13"/>
          <p:cNvSpPr>
            <a:spLocks noChangeArrowheads="1"/>
          </p:cNvSpPr>
          <p:nvPr/>
        </p:nvSpPr>
        <p:spPr bwMode="auto">
          <a:xfrm>
            <a:off x="163513" y="1195388"/>
            <a:ext cx="12028487" cy="954087"/>
          </a:xfrm>
          <a:prstGeom prst="rect">
            <a:avLst/>
          </a:prstGeom>
          <a:noFill/>
          <a:ln w="9525">
            <a:noFill/>
            <a:miter lim="800000"/>
            <a:headEnd/>
            <a:tailEnd/>
          </a:ln>
        </p:spPr>
        <p:txBody>
          <a:bodyPr lIns="91428" tIns="45715" rIns="91428" bIns="45715">
            <a:spAutoFit/>
          </a:bodyPr>
          <a:lstStyle/>
          <a:p>
            <a:pPr algn="ctr" defTabSz="684213">
              <a:lnSpc>
                <a:spcPct val="200000"/>
              </a:lnSpc>
              <a:spcBef>
                <a:spcPts val="1350"/>
              </a:spcBef>
              <a:buClr>
                <a:srgbClr val="FFFFFF"/>
              </a:buClr>
              <a:buSzPct val="80000"/>
            </a:pPr>
            <a:r>
              <a:rPr lang="zh-CN" altLang="en-US" sz="2800" b="1">
                <a:solidFill>
                  <a:srgbClr val="FFFFFF"/>
                </a:solidFill>
                <a:latin typeface="微软雅黑" pitchFamily="34" charset="-122"/>
                <a:ea typeface="微软雅黑" pitchFamily="34" charset="-122"/>
              </a:rPr>
              <a:t>分众营收百亿市值千亿，只因赌对了主流人群的核心场景：电梯</a:t>
            </a:r>
            <a:endParaRPr lang="en-US" altLang="zh-CN" sz="2800" b="1">
              <a:solidFill>
                <a:srgbClr val="FFFFFF"/>
              </a:solidFill>
              <a:latin typeface="微软雅黑" pitchFamily="34" charset="-122"/>
              <a:ea typeface="微软雅黑" pitchFamily="34" charset="-122"/>
            </a:endParaRPr>
          </a:p>
        </p:txBody>
      </p:sp>
      <p:grpSp>
        <p:nvGrpSpPr>
          <p:cNvPr id="153604" name="组合 4"/>
          <p:cNvGrpSpPr>
            <a:grpSpLocks/>
          </p:cNvGrpSpPr>
          <p:nvPr/>
        </p:nvGrpSpPr>
        <p:grpSpPr bwMode="auto">
          <a:xfrm>
            <a:off x="1042988" y="3544888"/>
            <a:ext cx="10106025" cy="1271587"/>
            <a:chOff x="946438" y="4255985"/>
            <a:chExt cx="10106750" cy="1272333"/>
          </a:xfrm>
        </p:grpSpPr>
        <p:pic>
          <p:nvPicPr>
            <p:cNvPr id="32" name="图片 31"/>
            <p:cNvPicPr>
              <a:picLocks noChangeAspect="1" noChangeArrowheads="1"/>
            </p:cNvPicPr>
            <p:nvPr/>
          </p:nvPicPr>
          <p:blipFill>
            <a:blip r:embed="rId2"/>
            <a:srcRect/>
            <a:stretch>
              <a:fillRect/>
            </a:stretch>
          </p:blipFill>
          <p:spPr bwMode="auto">
            <a:xfrm>
              <a:off x="6091251" y="4247537"/>
              <a:ext cx="2572512" cy="1286256"/>
            </a:xfrm>
            <a:prstGeom prst="rect">
              <a:avLst/>
            </a:prstGeom>
            <a:noFill/>
          </p:spPr>
        </p:pic>
        <p:pic>
          <p:nvPicPr>
            <p:cNvPr id="33" name="图片 32"/>
            <p:cNvPicPr>
              <a:picLocks noChangeAspect="1" noChangeArrowheads="1"/>
            </p:cNvPicPr>
            <p:nvPr/>
          </p:nvPicPr>
          <p:blipFill>
            <a:blip r:embed="rId3"/>
            <a:srcRect/>
            <a:stretch>
              <a:fillRect/>
            </a:stretch>
          </p:blipFill>
          <p:spPr bwMode="auto">
            <a:xfrm>
              <a:off x="3201748" y="4247537"/>
              <a:ext cx="2566416" cy="1286256"/>
            </a:xfrm>
            <a:prstGeom prst="rect">
              <a:avLst/>
            </a:prstGeom>
            <a:noFill/>
          </p:spPr>
        </p:pic>
        <p:pic>
          <p:nvPicPr>
            <p:cNvPr id="34" name="Picture 6" descr="3"/>
            <p:cNvPicPr>
              <a:picLocks noChangeAspect="1" noChangeArrowheads="1"/>
            </p:cNvPicPr>
            <p:nvPr/>
          </p:nvPicPr>
          <p:blipFill>
            <a:blip r:embed="rId4"/>
            <a:srcRect/>
            <a:stretch>
              <a:fillRect/>
            </a:stretch>
          </p:blipFill>
          <p:spPr bwMode="auto">
            <a:xfrm>
              <a:off x="8986851" y="4247537"/>
              <a:ext cx="2072640" cy="1286256"/>
            </a:xfrm>
            <a:prstGeom prst="rect">
              <a:avLst/>
            </a:prstGeom>
            <a:noFill/>
          </p:spPr>
        </p:pic>
        <p:pic>
          <p:nvPicPr>
            <p:cNvPr id="35" name="Picture 6" descr="2"/>
            <p:cNvPicPr>
              <a:picLocks noChangeAspect="1" noChangeArrowheads="1"/>
            </p:cNvPicPr>
            <p:nvPr/>
          </p:nvPicPr>
          <p:blipFill>
            <a:blip r:embed="rId5"/>
            <a:srcRect/>
            <a:stretch>
              <a:fillRect/>
            </a:stretch>
          </p:blipFill>
          <p:spPr bwMode="auto">
            <a:xfrm>
              <a:off x="940132" y="4247537"/>
              <a:ext cx="1938528" cy="1286256"/>
            </a:xfrm>
            <a:prstGeom prst="rect">
              <a:avLst/>
            </a:prstGeom>
            <a:noFill/>
          </p:spPr>
        </p:pic>
      </p:grpSp>
      <p:grpSp>
        <p:nvGrpSpPr>
          <p:cNvPr id="153605" name="组合 2"/>
          <p:cNvGrpSpPr>
            <a:grpSpLocks/>
          </p:cNvGrpSpPr>
          <p:nvPr/>
        </p:nvGrpSpPr>
        <p:grpSpPr bwMode="auto">
          <a:xfrm>
            <a:off x="946150" y="1604963"/>
            <a:ext cx="10299700" cy="1766887"/>
            <a:chOff x="946438" y="1713151"/>
            <a:chExt cx="10299125" cy="1767232"/>
          </a:xfrm>
        </p:grpSpPr>
        <p:pic>
          <p:nvPicPr>
            <p:cNvPr id="153606" name="图片 6"/>
            <p:cNvPicPr>
              <a:picLocks noChangeAspect="1"/>
            </p:cNvPicPr>
            <p:nvPr/>
          </p:nvPicPr>
          <p:blipFill>
            <a:blip r:embed="rId6"/>
            <a:srcRect/>
            <a:stretch>
              <a:fillRect/>
            </a:stretch>
          </p:blipFill>
          <p:spPr bwMode="auto">
            <a:xfrm>
              <a:off x="946438" y="1714253"/>
              <a:ext cx="1323601" cy="1766130"/>
            </a:xfrm>
            <a:prstGeom prst="rect">
              <a:avLst/>
            </a:prstGeom>
            <a:noFill/>
            <a:ln w="9525">
              <a:noFill/>
              <a:miter lim="800000"/>
              <a:headEnd/>
              <a:tailEnd/>
            </a:ln>
          </p:spPr>
        </p:pic>
        <p:pic>
          <p:nvPicPr>
            <p:cNvPr id="153607" name="内容占位符 1"/>
            <p:cNvPicPr>
              <a:picLocks noChangeAspect="1"/>
            </p:cNvPicPr>
            <p:nvPr/>
          </p:nvPicPr>
          <p:blipFill>
            <a:blip r:embed="rId7"/>
            <a:srcRect/>
            <a:stretch>
              <a:fillRect/>
            </a:stretch>
          </p:blipFill>
          <p:spPr bwMode="auto">
            <a:xfrm>
              <a:off x="2435265" y="1715582"/>
              <a:ext cx="1323601" cy="1764801"/>
            </a:xfrm>
            <a:prstGeom prst="rect">
              <a:avLst/>
            </a:prstGeom>
            <a:noFill/>
            <a:ln w="9525">
              <a:noFill/>
              <a:miter lim="800000"/>
              <a:headEnd/>
              <a:tailEnd/>
            </a:ln>
          </p:spPr>
        </p:pic>
        <p:pic>
          <p:nvPicPr>
            <p:cNvPr id="153608" name="图片 8"/>
            <p:cNvPicPr>
              <a:picLocks noChangeAspect="1"/>
            </p:cNvPicPr>
            <p:nvPr/>
          </p:nvPicPr>
          <p:blipFill>
            <a:blip r:embed="rId8"/>
            <a:srcRect/>
            <a:stretch>
              <a:fillRect/>
            </a:stretch>
          </p:blipFill>
          <p:spPr bwMode="auto">
            <a:xfrm>
              <a:off x="5452114" y="1714253"/>
              <a:ext cx="1325713" cy="1709695"/>
            </a:xfrm>
            <a:prstGeom prst="rect">
              <a:avLst/>
            </a:prstGeom>
            <a:noFill/>
            <a:ln w="9525">
              <a:noFill/>
              <a:miter lim="800000"/>
              <a:headEnd/>
              <a:tailEnd/>
            </a:ln>
          </p:spPr>
        </p:pic>
        <p:pic>
          <p:nvPicPr>
            <p:cNvPr id="153609" name="图片 9"/>
            <p:cNvPicPr>
              <a:picLocks noChangeAspect="1"/>
            </p:cNvPicPr>
            <p:nvPr/>
          </p:nvPicPr>
          <p:blipFill>
            <a:blip r:embed="rId9"/>
            <a:srcRect/>
            <a:stretch>
              <a:fillRect/>
            </a:stretch>
          </p:blipFill>
          <p:spPr bwMode="auto">
            <a:xfrm>
              <a:off x="3924092" y="1714253"/>
              <a:ext cx="1362796" cy="1728359"/>
            </a:xfrm>
            <a:prstGeom prst="rect">
              <a:avLst/>
            </a:prstGeom>
            <a:noFill/>
            <a:ln w="9525">
              <a:noFill/>
              <a:miter lim="800000"/>
              <a:headEnd/>
              <a:tailEnd/>
            </a:ln>
          </p:spPr>
        </p:pic>
        <p:pic>
          <p:nvPicPr>
            <p:cNvPr id="153610" name="图片 18"/>
            <p:cNvPicPr>
              <a:picLocks noChangeAspect="1"/>
            </p:cNvPicPr>
            <p:nvPr/>
          </p:nvPicPr>
          <p:blipFill>
            <a:blip r:embed="rId10"/>
            <a:srcRect/>
            <a:stretch>
              <a:fillRect/>
            </a:stretch>
          </p:blipFill>
          <p:spPr bwMode="auto">
            <a:xfrm>
              <a:off x="9933160" y="1714253"/>
              <a:ext cx="1312403" cy="1715382"/>
            </a:xfrm>
            <a:prstGeom prst="rect">
              <a:avLst/>
            </a:prstGeom>
            <a:noFill/>
            <a:ln w="9525">
              <a:noFill/>
              <a:miter lim="800000"/>
              <a:headEnd/>
              <a:tailEnd/>
            </a:ln>
          </p:spPr>
        </p:pic>
        <p:pic>
          <p:nvPicPr>
            <p:cNvPr id="153611" name="图片 19"/>
            <p:cNvPicPr>
              <a:picLocks noChangeAspect="1"/>
            </p:cNvPicPr>
            <p:nvPr/>
          </p:nvPicPr>
          <p:blipFill>
            <a:blip r:embed="rId11"/>
            <a:srcRect/>
            <a:stretch>
              <a:fillRect/>
            </a:stretch>
          </p:blipFill>
          <p:spPr bwMode="auto">
            <a:xfrm>
              <a:off x="8455532" y="1714253"/>
              <a:ext cx="1312402" cy="1736296"/>
            </a:xfrm>
            <a:prstGeom prst="rect">
              <a:avLst/>
            </a:prstGeom>
            <a:noFill/>
            <a:ln w="9525">
              <a:noFill/>
              <a:miter lim="800000"/>
              <a:headEnd/>
              <a:tailEnd/>
            </a:ln>
          </p:spPr>
        </p:pic>
        <p:pic>
          <p:nvPicPr>
            <p:cNvPr id="153612" name="图片 21"/>
            <p:cNvPicPr>
              <a:picLocks noChangeAspect="1"/>
            </p:cNvPicPr>
            <p:nvPr/>
          </p:nvPicPr>
          <p:blipFill>
            <a:blip r:embed="rId12"/>
            <a:srcRect/>
            <a:stretch>
              <a:fillRect/>
            </a:stretch>
          </p:blipFill>
          <p:spPr bwMode="auto">
            <a:xfrm>
              <a:off x="6943053" y="1713151"/>
              <a:ext cx="1347253" cy="1729462"/>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5" name="矩形 3"/>
          <p:cNvSpPr>
            <a:spLocks noChangeArrowheads="1"/>
          </p:cNvSpPr>
          <p:nvPr/>
        </p:nvSpPr>
        <p:spPr bwMode="auto">
          <a:xfrm>
            <a:off x="8839200" y="2032000"/>
            <a:ext cx="2382838" cy="971550"/>
          </a:xfrm>
          <a:prstGeom prst="rect">
            <a:avLst/>
          </a:prstGeom>
          <a:noFill/>
          <a:ln w="9525">
            <a:noFill/>
            <a:miter lim="800000"/>
            <a:headEnd/>
            <a:tailEnd/>
          </a:ln>
        </p:spPr>
        <p:txBody>
          <a:bodyPr wrap="none" lIns="91438" tIns="45719" rIns="91438" bIns="45719">
            <a:spAutoFit/>
          </a:bodyPr>
          <a:lstStyle/>
          <a:p>
            <a:r>
              <a:rPr lang="zh-CN" altLang="en-US" sz="5700" b="1">
                <a:solidFill>
                  <a:srgbClr val="FF0000"/>
                </a:solidFill>
                <a:latin typeface="微软雅黑" pitchFamily="34" charset="-122"/>
                <a:ea typeface="微软雅黑" pitchFamily="34" charset="-122"/>
              </a:rPr>
              <a:t>低干扰</a:t>
            </a:r>
          </a:p>
        </p:txBody>
      </p:sp>
      <p:sp>
        <p:nvSpPr>
          <p:cNvPr id="154626" name="矩形 4"/>
          <p:cNvSpPr>
            <a:spLocks noChangeArrowheads="1"/>
          </p:cNvSpPr>
          <p:nvPr/>
        </p:nvSpPr>
        <p:spPr bwMode="auto">
          <a:xfrm>
            <a:off x="1000125" y="2087563"/>
            <a:ext cx="3114675" cy="971550"/>
          </a:xfrm>
          <a:prstGeom prst="rect">
            <a:avLst/>
          </a:prstGeom>
          <a:noFill/>
          <a:ln w="9525">
            <a:noFill/>
            <a:miter lim="800000"/>
            <a:headEnd/>
            <a:tailEnd/>
          </a:ln>
        </p:spPr>
        <p:txBody>
          <a:bodyPr wrap="none" lIns="91438" tIns="45719" rIns="91438" bIns="45719">
            <a:spAutoFit/>
          </a:bodyPr>
          <a:lstStyle/>
          <a:p>
            <a:r>
              <a:rPr lang="zh-CN" altLang="en-US" sz="5700" b="1">
                <a:solidFill>
                  <a:srgbClr val="FF0000"/>
                </a:solidFill>
                <a:latin typeface="微软雅黑" pitchFamily="34" charset="-122"/>
                <a:ea typeface="微软雅黑" pitchFamily="34" charset="-122"/>
              </a:rPr>
              <a:t>主流人群</a:t>
            </a:r>
          </a:p>
        </p:txBody>
      </p:sp>
      <p:sp>
        <p:nvSpPr>
          <p:cNvPr id="154627" name="矩形 5"/>
          <p:cNvSpPr>
            <a:spLocks noChangeArrowheads="1"/>
          </p:cNvSpPr>
          <p:nvPr/>
        </p:nvSpPr>
        <p:spPr bwMode="auto">
          <a:xfrm>
            <a:off x="4591050" y="2087563"/>
            <a:ext cx="1649413" cy="971550"/>
          </a:xfrm>
          <a:prstGeom prst="rect">
            <a:avLst/>
          </a:prstGeom>
          <a:noFill/>
          <a:ln w="9525">
            <a:noFill/>
            <a:miter lim="800000"/>
            <a:headEnd/>
            <a:tailEnd/>
          </a:ln>
        </p:spPr>
        <p:txBody>
          <a:bodyPr wrap="none" lIns="91438" tIns="45719" rIns="91438" bIns="45719">
            <a:spAutoFit/>
          </a:bodyPr>
          <a:lstStyle/>
          <a:p>
            <a:r>
              <a:rPr lang="zh-CN" altLang="en-US" sz="5700" b="1">
                <a:solidFill>
                  <a:srgbClr val="FF0000"/>
                </a:solidFill>
                <a:latin typeface="微软雅黑" pitchFamily="34" charset="-122"/>
                <a:ea typeface="微软雅黑" pitchFamily="34" charset="-122"/>
              </a:rPr>
              <a:t>必经</a:t>
            </a:r>
          </a:p>
        </p:txBody>
      </p:sp>
      <p:sp>
        <p:nvSpPr>
          <p:cNvPr id="154628" name="矩形 6"/>
          <p:cNvSpPr>
            <a:spLocks noChangeArrowheads="1"/>
          </p:cNvSpPr>
          <p:nvPr/>
        </p:nvSpPr>
        <p:spPr bwMode="auto">
          <a:xfrm>
            <a:off x="6715125" y="2087563"/>
            <a:ext cx="1649413" cy="971550"/>
          </a:xfrm>
          <a:prstGeom prst="rect">
            <a:avLst/>
          </a:prstGeom>
          <a:noFill/>
          <a:ln w="9525">
            <a:noFill/>
            <a:miter lim="800000"/>
            <a:headEnd/>
            <a:tailEnd/>
          </a:ln>
        </p:spPr>
        <p:txBody>
          <a:bodyPr wrap="none" lIns="91438" tIns="45719" rIns="91438" bIns="45719">
            <a:spAutoFit/>
          </a:bodyPr>
          <a:lstStyle/>
          <a:p>
            <a:r>
              <a:rPr lang="zh-CN" altLang="en-US" sz="5700" b="1">
                <a:solidFill>
                  <a:srgbClr val="FF0000"/>
                </a:solidFill>
                <a:latin typeface="微软雅黑" pitchFamily="34" charset="-122"/>
                <a:ea typeface="微软雅黑" pitchFamily="34" charset="-122"/>
              </a:rPr>
              <a:t>高频</a:t>
            </a:r>
          </a:p>
        </p:txBody>
      </p:sp>
      <p:sp>
        <p:nvSpPr>
          <p:cNvPr id="154629" name="文本框 8"/>
          <p:cNvSpPr txBox="1">
            <a:spLocks noChangeArrowheads="1"/>
          </p:cNvSpPr>
          <p:nvPr/>
        </p:nvSpPr>
        <p:spPr bwMode="auto">
          <a:xfrm>
            <a:off x="1143000" y="3267075"/>
            <a:ext cx="2667000" cy="385763"/>
          </a:xfrm>
          <a:prstGeom prst="rect">
            <a:avLst/>
          </a:prstGeom>
          <a:noFill/>
          <a:ln w="9525">
            <a:noFill/>
            <a:miter lim="800000"/>
            <a:headEnd/>
            <a:tailEnd/>
          </a:ln>
        </p:spPr>
        <p:txBody>
          <a:bodyPr lIns="91438" tIns="45719" rIns="91438" bIns="45719">
            <a:spAutoFit/>
          </a:bodyPr>
          <a:lstStyle/>
          <a:p>
            <a:pPr algn="ctr"/>
            <a:r>
              <a:rPr lang="zh-CN" altLang="en-US" sz="1900" b="1">
                <a:latin typeface="微软雅黑" pitchFamily="34" charset="-122"/>
                <a:ea typeface="微软雅黑" pitchFamily="34" charset="-122"/>
              </a:rPr>
              <a:t>覆盖城市风向标人群</a:t>
            </a:r>
          </a:p>
        </p:txBody>
      </p:sp>
      <p:sp>
        <p:nvSpPr>
          <p:cNvPr id="154630" name="文本框 9"/>
          <p:cNvSpPr txBox="1">
            <a:spLocks noChangeArrowheads="1"/>
          </p:cNvSpPr>
          <p:nvPr/>
        </p:nvSpPr>
        <p:spPr bwMode="auto">
          <a:xfrm>
            <a:off x="4433888" y="3248025"/>
            <a:ext cx="1808162" cy="385763"/>
          </a:xfrm>
          <a:prstGeom prst="rect">
            <a:avLst/>
          </a:prstGeom>
          <a:noFill/>
          <a:ln w="9525">
            <a:noFill/>
            <a:miter lim="800000"/>
            <a:headEnd/>
            <a:tailEnd/>
          </a:ln>
        </p:spPr>
        <p:txBody>
          <a:bodyPr lIns="91438" tIns="45719" rIns="91438" bIns="45719">
            <a:spAutoFit/>
          </a:bodyPr>
          <a:lstStyle/>
          <a:p>
            <a:pPr algn="ctr"/>
            <a:r>
              <a:rPr lang="zh-CN" altLang="en-US" sz="1900" b="1">
                <a:latin typeface="微软雅黑" pitchFamily="34" charset="-122"/>
                <a:ea typeface="微软雅黑" pitchFamily="34" charset="-122"/>
              </a:rPr>
              <a:t>核心生活空间</a:t>
            </a:r>
          </a:p>
        </p:txBody>
      </p:sp>
      <p:sp>
        <p:nvSpPr>
          <p:cNvPr id="154631" name="文本框 10"/>
          <p:cNvSpPr txBox="1">
            <a:spLocks noChangeArrowheads="1"/>
          </p:cNvSpPr>
          <p:nvPr/>
        </p:nvSpPr>
        <p:spPr bwMode="auto">
          <a:xfrm>
            <a:off x="6697663" y="3267075"/>
            <a:ext cx="1617662" cy="385763"/>
          </a:xfrm>
          <a:prstGeom prst="rect">
            <a:avLst/>
          </a:prstGeom>
          <a:noFill/>
          <a:ln w="9525">
            <a:noFill/>
            <a:miter lim="800000"/>
            <a:headEnd/>
            <a:tailEnd/>
          </a:ln>
        </p:spPr>
        <p:txBody>
          <a:bodyPr lIns="91438" tIns="45719" rIns="91438" bIns="45719">
            <a:spAutoFit/>
          </a:bodyPr>
          <a:lstStyle/>
          <a:p>
            <a:pPr algn="ctr"/>
            <a:r>
              <a:rPr lang="zh-CN" altLang="en-US" sz="1900" b="1">
                <a:latin typeface="微软雅黑" pitchFamily="34" charset="-122"/>
                <a:ea typeface="微软雅黑" pitchFamily="34" charset="-122"/>
              </a:rPr>
              <a:t>高频次接触</a:t>
            </a:r>
          </a:p>
        </p:txBody>
      </p:sp>
      <p:sp>
        <p:nvSpPr>
          <p:cNvPr id="154632" name="文本框 11"/>
          <p:cNvSpPr txBox="1">
            <a:spLocks noChangeArrowheads="1"/>
          </p:cNvSpPr>
          <p:nvPr/>
        </p:nvSpPr>
        <p:spPr bwMode="auto">
          <a:xfrm>
            <a:off x="8772525" y="3267075"/>
            <a:ext cx="2667000" cy="384175"/>
          </a:xfrm>
          <a:prstGeom prst="rect">
            <a:avLst/>
          </a:prstGeom>
          <a:noFill/>
          <a:ln w="9525">
            <a:noFill/>
            <a:miter lim="800000"/>
            <a:headEnd/>
            <a:tailEnd/>
          </a:ln>
        </p:spPr>
        <p:txBody>
          <a:bodyPr lIns="91438" tIns="45719" rIns="91438" bIns="45719">
            <a:spAutoFit/>
          </a:bodyPr>
          <a:lstStyle/>
          <a:p>
            <a:pPr algn="ctr"/>
            <a:r>
              <a:rPr lang="zh-CN" altLang="en-US" sz="1900" b="1">
                <a:latin typeface="微软雅黑" pitchFamily="34" charset="-122"/>
                <a:ea typeface="微软雅黑" pitchFamily="34" charset="-122"/>
              </a:rPr>
              <a:t>封闭空间，强制到达</a:t>
            </a:r>
          </a:p>
        </p:txBody>
      </p:sp>
      <p:cxnSp>
        <p:nvCxnSpPr>
          <p:cNvPr id="154633" name="直接连接符 13"/>
          <p:cNvCxnSpPr>
            <a:cxnSpLocks noChangeShapeType="1"/>
          </p:cNvCxnSpPr>
          <p:nvPr/>
        </p:nvCxnSpPr>
        <p:spPr bwMode="auto">
          <a:xfrm flipH="1">
            <a:off x="4141788" y="2189163"/>
            <a:ext cx="449262" cy="925512"/>
          </a:xfrm>
          <a:prstGeom prst="line">
            <a:avLst/>
          </a:prstGeom>
          <a:noFill/>
          <a:ln w="28575" algn="ctr">
            <a:solidFill>
              <a:srgbClr val="475F77"/>
            </a:solidFill>
            <a:round/>
            <a:headEnd/>
            <a:tailEnd/>
          </a:ln>
        </p:spPr>
      </p:cxnSp>
      <p:cxnSp>
        <p:nvCxnSpPr>
          <p:cNvPr id="154634" name="直接连接符 17"/>
          <p:cNvCxnSpPr>
            <a:cxnSpLocks noChangeShapeType="1"/>
          </p:cNvCxnSpPr>
          <p:nvPr/>
        </p:nvCxnSpPr>
        <p:spPr bwMode="auto">
          <a:xfrm flipH="1">
            <a:off x="6302375" y="2189163"/>
            <a:ext cx="449263" cy="925512"/>
          </a:xfrm>
          <a:prstGeom prst="line">
            <a:avLst/>
          </a:prstGeom>
          <a:noFill/>
          <a:ln w="28575" algn="ctr">
            <a:solidFill>
              <a:srgbClr val="475F77"/>
            </a:solidFill>
            <a:round/>
            <a:headEnd/>
            <a:tailEnd/>
          </a:ln>
        </p:spPr>
      </p:cxnSp>
      <p:cxnSp>
        <p:nvCxnSpPr>
          <p:cNvPr id="154635" name="直接连接符 18"/>
          <p:cNvCxnSpPr>
            <a:cxnSpLocks noChangeShapeType="1"/>
          </p:cNvCxnSpPr>
          <p:nvPr/>
        </p:nvCxnSpPr>
        <p:spPr bwMode="auto">
          <a:xfrm flipH="1">
            <a:off x="8443913" y="2189163"/>
            <a:ext cx="449262" cy="925512"/>
          </a:xfrm>
          <a:prstGeom prst="line">
            <a:avLst/>
          </a:prstGeom>
          <a:noFill/>
          <a:ln w="28575" algn="ctr">
            <a:solidFill>
              <a:srgbClr val="475F77"/>
            </a:solidFill>
            <a:round/>
            <a:headEnd/>
            <a:tailEnd/>
          </a:ln>
        </p:spPr>
      </p:cxnSp>
      <p:sp>
        <p:nvSpPr>
          <p:cNvPr id="15" name="标题 1"/>
          <p:cNvSpPr txBox="1">
            <a:spLocks/>
          </p:cNvSpPr>
          <p:nvPr/>
        </p:nvSpPr>
        <p:spPr>
          <a:xfrm>
            <a:off x="719138" y="549275"/>
            <a:ext cx="10566400" cy="581025"/>
          </a:xfrm>
          <a:prstGeom prst="rect">
            <a:avLst/>
          </a:prstGeom>
        </p:spPr>
        <p:txBody>
          <a:bodyPr lIns="91438" tIns="45719" rIns="91438" bIns="45719">
            <a:normAutofit/>
          </a:bodyPr>
          <a:lstStyle>
            <a:lvl1pPr algn="l" defTabSz="685729" rtl="0" eaLnBrk="1" latinLnBrk="0" hangingPunct="1">
              <a:lnSpc>
                <a:spcPct val="90000"/>
              </a:lnSpc>
              <a:spcBef>
                <a:spcPct val="0"/>
              </a:spcBef>
              <a:buNone/>
              <a:defRPr sz="3400" b="1" i="0" kern="1200" baseline="0">
                <a:solidFill>
                  <a:schemeClr val="accent1">
                    <a:lumMod val="60000"/>
                    <a:lumOff val="40000"/>
                  </a:schemeClr>
                </a:solidFill>
                <a:effectLst/>
                <a:latin typeface="+mj-ea"/>
                <a:ea typeface="+mj-ea"/>
                <a:cs typeface="+mj-cs"/>
              </a:defRPr>
            </a:lvl1pPr>
          </a:lstStyle>
          <a:p>
            <a:pPr algn="ctr" fontAlgn="auto">
              <a:spcAft>
                <a:spcPts val="0"/>
              </a:spcAft>
              <a:defRPr/>
            </a:pPr>
            <a:r>
              <a:rPr lang="zh-CN" altLang="en-US" sz="3100" dirty="0" smtClean="0">
                <a:solidFill>
                  <a:schemeClr val="tx1"/>
                </a:solidFill>
              </a:rPr>
              <a:t>电梯代表着四个关键词</a:t>
            </a:r>
            <a:endParaRPr lang="zh-CN" altLang="en-US" sz="3100" dirty="0">
              <a:solidFill>
                <a:schemeClr val="accent5"/>
              </a:solidFill>
            </a:endParaRPr>
          </a:p>
        </p:txBody>
      </p:sp>
      <p:sp>
        <p:nvSpPr>
          <p:cNvPr id="16" name="矩形 15"/>
          <p:cNvSpPr/>
          <p:nvPr/>
        </p:nvSpPr>
        <p:spPr>
          <a:xfrm>
            <a:off x="150813" y="4325938"/>
            <a:ext cx="11899900" cy="1201737"/>
          </a:xfrm>
          <a:prstGeom prst="rect">
            <a:avLst/>
          </a:prstGeom>
        </p:spPr>
        <p:txBody>
          <a:bodyPr lIns="91438" tIns="45719" rIns="91438" bIns="45719">
            <a:spAutoFit/>
          </a:bodyPr>
          <a:lstStyle/>
          <a:p>
            <a:pPr algn="ctr" defTabSz="914377" fontAlgn="auto">
              <a:lnSpc>
                <a:spcPct val="150000"/>
              </a:lnSpc>
              <a:spcBef>
                <a:spcPts val="0"/>
              </a:spcBef>
              <a:spcAft>
                <a:spcPts val="0"/>
              </a:spcAft>
              <a:buClr>
                <a:schemeClr val="tx1"/>
              </a:buClr>
              <a:defRPr/>
            </a:pPr>
            <a:r>
              <a:rPr lang="zh-CN" altLang="en-US" sz="4800" b="1" dirty="0">
                <a:solidFill>
                  <a:srgbClr val="FF0000"/>
                </a:solidFill>
                <a:latin typeface="+mj-ea"/>
                <a:ea typeface="+mj-ea"/>
              </a:rPr>
              <a:t>没有选择就是最好的选择</a:t>
            </a:r>
            <a:endParaRPr lang="zh-CN" altLang="en-US" sz="4800" b="1" dirty="0">
              <a:solidFill>
                <a:srgbClr val="FF0000"/>
              </a:solidFill>
              <a:latin typeface="+mj-ea"/>
              <a:ea typeface="+mj-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49" name="标题 38"/>
          <p:cNvSpPr>
            <a:spLocks noGrp="1"/>
          </p:cNvSpPr>
          <p:nvPr>
            <p:ph type="title"/>
          </p:nvPr>
        </p:nvSpPr>
        <p:spPr bwMode="auto">
          <a:xfrm>
            <a:off x="561975" y="377825"/>
            <a:ext cx="11258550" cy="530225"/>
          </a:xfrm>
          <a:noFill/>
          <a:ln>
            <a:miter lim="800000"/>
            <a:headEnd/>
            <a:tailEnd/>
          </a:ln>
        </p:spPr>
        <p:txBody>
          <a:bodyPr vert="horz" wrap="square" lIns="91440" tIns="45720" rIns="91440" bIns="45720" numCol="1" anchor="t" anchorCtr="0" compatLnSpc="1">
            <a:prstTxWarp prst="textNoShape">
              <a:avLst/>
            </a:prstTxWarp>
          </a:bodyPr>
          <a:lstStyle/>
          <a:p>
            <a:r>
              <a:rPr lang="zh-CN" altLang="en-US" sz="4300" smtClean="0"/>
              <a:t>媒体环境中的：变与不变</a:t>
            </a:r>
          </a:p>
        </p:txBody>
      </p:sp>
      <p:sp>
        <p:nvSpPr>
          <p:cNvPr id="155650" name="灯片编号占位符 1"/>
          <p:cNvSpPr>
            <a:spLocks noGrp="1"/>
          </p:cNvSpPr>
          <p:nvPr>
            <p:ph type="sldNum" sz="quarter" idx="10"/>
          </p:nvPr>
        </p:nvSpPr>
        <p:spPr bwMode="auto">
          <a:xfrm>
            <a:off x="9012238" y="6526213"/>
            <a:ext cx="2844800" cy="365125"/>
          </a:xfrm>
          <a:noFill/>
          <a:ln>
            <a:miter lim="800000"/>
            <a:headEnd/>
            <a:tailEnd/>
          </a:ln>
        </p:spPr>
        <p:txBody>
          <a:bodyPr vert="horz" wrap="square" lIns="91440" tIns="45720" rIns="91440" bIns="45720" numCol="1" anchor="t" anchorCtr="0" compatLnSpc="1">
            <a:prstTxWarp prst="textNoShape">
              <a:avLst/>
            </a:prstTxWarp>
          </a:bodyPr>
          <a:lstStyle/>
          <a:p>
            <a:pPr defTabSz="912813" fontAlgn="base">
              <a:spcBef>
                <a:spcPct val="0"/>
              </a:spcBef>
              <a:spcAft>
                <a:spcPct val="0"/>
              </a:spcAft>
            </a:pPr>
            <a:fld id="{78BF9144-0649-4D26-BF9A-15757A849366}" type="slidenum">
              <a:rPr lang="zh-CN" altLang="en-US"/>
              <a:pPr defTabSz="912813" fontAlgn="base">
                <a:spcBef>
                  <a:spcPct val="0"/>
                </a:spcBef>
                <a:spcAft>
                  <a:spcPct val="0"/>
                </a:spcAft>
              </a:pPr>
              <a:t>86</a:t>
            </a:fld>
            <a:endParaRPr lang="en-US" altLang="zh-CN"/>
          </a:p>
        </p:txBody>
      </p:sp>
      <p:sp>
        <p:nvSpPr>
          <p:cNvPr id="26" name="MH_Other_1"/>
          <p:cNvSpPr/>
          <p:nvPr>
            <p:custDataLst>
              <p:tags r:id="rId2"/>
            </p:custDataLst>
          </p:nvPr>
        </p:nvSpPr>
        <p:spPr>
          <a:xfrm>
            <a:off x="827088" y="2660650"/>
            <a:ext cx="2484437" cy="275907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defTabSz="914354" fontAlgn="auto">
              <a:spcBef>
                <a:spcPts val="0"/>
              </a:spcBef>
              <a:spcAft>
                <a:spcPts val="0"/>
              </a:spcAft>
              <a:defRPr/>
            </a:pPr>
            <a:endParaRPr lang="zh-CN" altLang="en-US" dirty="0">
              <a:solidFill>
                <a:srgbClr val="FFFFFF"/>
              </a:solidFill>
            </a:endParaRPr>
          </a:p>
        </p:txBody>
      </p:sp>
      <p:sp>
        <p:nvSpPr>
          <p:cNvPr id="32" name="MH_Other_3"/>
          <p:cNvSpPr/>
          <p:nvPr>
            <p:custDataLst>
              <p:tags r:id="rId3"/>
            </p:custDataLst>
          </p:nvPr>
        </p:nvSpPr>
        <p:spPr>
          <a:xfrm>
            <a:off x="985838" y="5062538"/>
            <a:ext cx="2692400" cy="509587"/>
          </a:xfrm>
          <a:custGeom>
            <a:avLst/>
            <a:gdLst>
              <a:gd name="connsiteX0" fmla="*/ 2019299 w 2019300"/>
              <a:gd name="connsiteY0" fmla="*/ 0 h 509588"/>
              <a:gd name="connsiteX1" fmla="*/ 2019299 w 2019300"/>
              <a:gd name="connsiteY1" fmla="*/ 271462 h 509588"/>
              <a:gd name="connsiteX2" fmla="*/ 2019300 w 2019300"/>
              <a:gd name="connsiteY2" fmla="*/ 271462 h 509588"/>
              <a:gd name="connsiteX3" fmla="*/ 2019300 w 2019300"/>
              <a:gd name="connsiteY3" fmla="*/ 509588 h 509588"/>
              <a:gd name="connsiteX4" fmla="*/ 0 w 2019300"/>
              <a:gd name="connsiteY4" fmla="*/ 509588 h 509588"/>
              <a:gd name="connsiteX5" fmla="*/ 0 w 2019300"/>
              <a:gd name="connsiteY5" fmla="*/ 271462 h 509588"/>
              <a:gd name="connsiteX6" fmla="*/ 1691283 w 2019300"/>
              <a:gd name="connsiteY6" fmla="*/ 271462 h 50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0" h="509588">
                <a:moveTo>
                  <a:pt x="2019299" y="0"/>
                </a:moveTo>
                <a:lnTo>
                  <a:pt x="2019299" y="271462"/>
                </a:lnTo>
                <a:lnTo>
                  <a:pt x="2019300" y="271462"/>
                </a:lnTo>
                <a:lnTo>
                  <a:pt x="2019300" y="509588"/>
                </a:lnTo>
                <a:lnTo>
                  <a:pt x="0" y="509588"/>
                </a:lnTo>
                <a:lnTo>
                  <a:pt x="0" y="271462"/>
                </a:lnTo>
                <a:lnTo>
                  <a:pt x="1691283" y="271462"/>
                </a:lnTo>
                <a:close/>
              </a:path>
            </a:pathLst>
          </a:custGeom>
          <a:solidFill>
            <a:schemeClr val="accent1"/>
          </a:solidFill>
          <a:ln w="3175">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defTabSz="914354" fontAlgn="auto">
              <a:spcBef>
                <a:spcPts val="0"/>
              </a:spcBef>
              <a:spcAft>
                <a:spcPts val="0"/>
              </a:spcAft>
              <a:defRPr/>
            </a:pPr>
            <a:endParaRPr lang="zh-CN" altLang="en-US" dirty="0">
              <a:solidFill>
                <a:srgbClr val="FFFFFF"/>
              </a:solidFill>
            </a:endParaRPr>
          </a:p>
        </p:txBody>
      </p:sp>
      <p:cxnSp>
        <p:nvCxnSpPr>
          <p:cNvPr id="33" name="MH_Other_4"/>
          <p:cNvCxnSpPr/>
          <p:nvPr>
            <p:custDataLst>
              <p:tags r:id="rId4"/>
            </p:custDataLst>
          </p:nvPr>
        </p:nvCxnSpPr>
        <p:spPr>
          <a:xfrm flipV="1">
            <a:off x="2986088" y="3686175"/>
            <a:ext cx="2982912" cy="1876425"/>
          </a:xfrm>
          <a:prstGeom prst="line">
            <a:avLst/>
          </a:prstGeom>
          <a:ln>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4" name="MH_Text_1"/>
          <p:cNvSpPr/>
          <p:nvPr>
            <p:custDataLst>
              <p:tags r:id="rId5"/>
            </p:custDataLst>
          </p:nvPr>
        </p:nvSpPr>
        <p:spPr>
          <a:xfrm>
            <a:off x="3870325" y="2660650"/>
            <a:ext cx="2225675" cy="201771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defTabSz="914354" fontAlgn="auto">
              <a:lnSpc>
                <a:spcPct val="150000"/>
              </a:lnSpc>
              <a:spcBef>
                <a:spcPts val="0"/>
              </a:spcBef>
              <a:spcAft>
                <a:spcPts val="0"/>
              </a:spcAft>
              <a:defRPr/>
            </a:pPr>
            <a:r>
              <a:rPr lang="zh-CN" altLang="en-US" sz="1600" b="1" dirty="0">
                <a:solidFill>
                  <a:srgbClr val="FF6400"/>
                </a:solidFill>
              </a:rPr>
              <a:t>移动化</a:t>
            </a:r>
            <a:r>
              <a:rPr lang="zh-CN" altLang="en-US" sz="1600" b="1" dirty="0">
                <a:solidFill>
                  <a:srgbClr val="FF6400"/>
                </a:solidFill>
              </a:rPr>
              <a:t>趋势：消费者每天手机注意力</a:t>
            </a:r>
            <a:r>
              <a:rPr lang="en-US" altLang="zh-CN" sz="1600" b="1" dirty="0">
                <a:solidFill>
                  <a:srgbClr val="FF6400"/>
                </a:solidFill>
              </a:rPr>
              <a:t>6</a:t>
            </a:r>
            <a:r>
              <a:rPr lang="zh-CN" altLang="en-US" sz="1600" b="1" dirty="0">
                <a:solidFill>
                  <a:srgbClr val="FF6400"/>
                </a:solidFill>
              </a:rPr>
              <a:t>小时但消费者关注手机看的是内容而不是广告</a:t>
            </a:r>
            <a:endParaRPr lang="en-US" altLang="zh-CN" sz="1600" b="1" dirty="0">
              <a:solidFill>
                <a:srgbClr val="FF6400"/>
              </a:solidFill>
            </a:endParaRPr>
          </a:p>
          <a:p>
            <a:pPr defTabSz="914354" fontAlgn="auto">
              <a:lnSpc>
                <a:spcPct val="150000"/>
              </a:lnSpc>
              <a:spcBef>
                <a:spcPts val="0"/>
              </a:spcBef>
              <a:spcAft>
                <a:spcPts val="0"/>
              </a:spcAft>
              <a:defRPr/>
            </a:pPr>
            <a:endParaRPr lang="en-US" altLang="zh-CN" sz="1600" b="1" dirty="0">
              <a:solidFill>
                <a:srgbClr val="FF6400"/>
              </a:solidFill>
            </a:endParaRPr>
          </a:p>
          <a:p>
            <a:pPr defTabSz="914354" fontAlgn="auto">
              <a:lnSpc>
                <a:spcPct val="150000"/>
              </a:lnSpc>
              <a:spcBef>
                <a:spcPts val="0"/>
              </a:spcBef>
              <a:spcAft>
                <a:spcPts val="0"/>
              </a:spcAft>
              <a:defRPr/>
            </a:pPr>
            <a:r>
              <a:rPr lang="zh-CN" altLang="en-US" sz="1600" b="1" dirty="0">
                <a:solidFill>
                  <a:srgbClr val="FF6400"/>
                </a:solidFill>
              </a:rPr>
              <a:t>营销必须通过内容创造话题，融入事件</a:t>
            </a:r>
            <a:r>
              <a:rPr lang="zh-CN" altLang="en-US" sz="1600" b="1" dirty="0">
                <a:solidFill>
                  <a:srgbClr val="FF6400"/>
                </a:solidFill>
              </a:rPr>
              <a:t>中</a:t>
            </a:r>
            <a:r>
              <a:rPr lang="zh-CN" altLang="en-US" sz="1600" b="1" dirty="0">
                <a:solidFill>
                  <a:srgbClr val="FF6400"/>
                </a:solidFill>
              </a:rPr>
              <a:t>进行</a:t>
            </a:r>
            <a:endParaRPr lang="zh-CN" altLang="en-US" sz="1600" b="1" dirty="0">
              <a:solidFill>
                <a:srgbClr val="FF6400"/>
              </a:solidFill>
            </a:endParaRPr>
          </a:p>
        </p:txBody>
      </p:sp>
      <p:cxnSp>
        <p:nvCxnSpPr>
          <p:cNvPr id="35" name="MH_Other_5"/>
          <p:cNvCxnSpPr/>
          <p:nvPr>
            <p:custDataLst>
              <p:tags r:id="rId6"/>
            </p:custDataLst>
          </p:nvPr>
        </p:nvCxnSpPr>
        <p:spPr>
          <a:xfrm flipV="1">
            <a:off x="3911600" y="4067175"/>
            <a:ext cx="1874838" cy="1181100"/>
          </a:xfrm>
          <a:prstGeom prst="line">
            <a:avLst/>
          </a:prstGeom>
          <a:ln>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6" name="MH_Other_6"/>
          <p:cNvSpPr/>
          <p:nvPr>
            <p:custDataLst>
              <p:tags r:id="rId7"/>
            </p:custDataLst>
          </p:nvPr>
        </p:nvSpPr>
        <p:spPr>
          <a:xfrm>
            <a:off x="6546850" y="5062538"/>
            <a:ext cx="2692400" cy="509587"/>
          </a:xfrm>
          <a:custGeom>
            <a:avLst/>
            <a:gdLst>
              <a:gd name="connsiteX0" fmla="*/ 2019299 w 2019300"/>
              <a:gd name="connsiteY0" fmla="*/ 0 h 509588"/>
              <a:gd name="connsiteX1" fmla="*/ 2019299 w 2019300"/>
              <a:gd name="connsiteY1" fmla="*/ 271462 h 509588"/>
              <a:gd name="connsiteX2" fmla="*/ 2019300 w 2019300"/>
              <a:gd name="connsiteY2" fmla="*/ 271462 h 509588"/>
              <a:gd name="connsiteX3" fmla="*/ 2019300 w 2019300"/>
              <a:gd name="connsiteY3" fmla="*/ 509588 h 509588"/>
              <a:gd name="connsiteX4" fmla="*/ 0 w 2019300"/>
              <a:gd name="connsiteY4" fmla="*/ 509588 h 509588"/>
              <a:gd name="connsiteX5" fmla="*/ 0 w 2019300"/>
              <a:gd name="connsiteY5" fmla="*/ 271462 h 509588"/>
              <a:gd name="connsiteX6" fmla="*/ 1691283 w 2019300"/>
              <a:gd name="connsiteY6" fmla="*/ 271462 h 50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0" h="509588">
                <a:moveTo>
                  <a:pt x="2019299" y="0"/>
                </a:moveTo>
                <a:lnTo>
                  <a:pt x="2019299" y="271462"/>
                </a:lnTo>
                <a:lnTo>
                  <a:pt x="2019300" y="271462"/>
                </a:lnTo>
                <a:lnTo>
                  <a:pt x="2019300" y="509588"/>
                </a:lnTo>
                <a:lnTo>
                  <a:pt x="0" y="509588"/>
                </a:lnTo>
                <a:lnTo>
                  <a:pt x="0" y="271462"/>
                </a:lnTo>
                <a:lnTo>
                  <a:pt x="1691283" y="271462"/>
                </a:lnTo>
                <a:close/>
              </a:path>
            </a:pathLst>
          </a:custGeom>
          <a:solidFill>
            <a:schemeClr val="accent1"/>
          </a:solidFill>
          <a:ln w="3175">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defTabSz="914354" fontAlgn="auto">
              <a:spcBef>
                <a:spcPts val="0"/>
              </a:spcBef>
              <a:spcAft>
                <a:spcPts val="0"/>
              </a:spcAft>
              <a:defRPr/>
            </a:pPr>
            <a:endParaRPr lang="zh-CN" altLang="en-US" dirty="0">
              <a:solidFill>
                <a:srgbClr val="FFFFFF"/>
              </a:solidFill>
            </a:endParaRPr>
          </a:p>
        </p:txBody>
      </p:sp>
      <p:cxnSp>
        <p:nvCxnSpPr>
          <p:cNvPr id="37" name="MH_Other_7"/>
          <p:cNvCxnSpPr/>
          <p:nvPr>
            <p:custDataLst>
              <p:tags r:id="rId8"/>
            </p:custDataLst>
          </p:nvPr>
        </p:nvCxnSpPr>
        <p:spPr>
          <a:xfrm flipV="1">
            <a:off x="8547100" y="3686175"/>
            <a:ext cx="2979738" cy="1876425"/>
          </a:xfrm>
          <a:prstGeom prst="line">
            <a:avLst/>
          </a:prstGeom>
          <a:ln>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8" name="MH_Text_2"/>
          <p:cNvSpPr/>
          <p:nvPr>
            <p:custDataLst>
              <p:tags r:id="rId9"/>
            </p:custDataLst>
          </p:nvPr>
        </p:nvSpPr>
        <p:spPr>
          <a:xfrm>
            <a:off x="9359900" y="2568575"/>
            <a:ext cx="2425700" cy="172085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defTabSz="914354" fontAlgn="auto">
              <a:lnSpc>
                <a:spcPct val="150000"/>
              </a:lnSpc>
              <a:spcBef>
                <a:spcPts val="0"/>
              </a:spcBef>
              <a:spcAft>
                <a:spcPts val="0"/>
              </a:spcAft>
              <a:defRPr/>
            </a:pPr>
            <a:r>
              <a:rPr lang="zh-CN" altLang="en-US" sz="1600" b="1" dirty="0">
                <a:solidFill>
                  <a:srgbClr val="FF6400"/>
                </a:solidFill>
              </a:rPr>
              <a:t>在消费者的生活场景中接触受众，并影响受众</a:t>
            </a:r>
            <a:endParaRPr lang="en-US" altLang="zh-CN" sz="1600" b="1" dirty="0">
              <a:solidFill>
                <a:srgbClr val="FF6400"/>
              </a:solidFill>
            </a:endParaRPr>
          </a:p>
          <a:p>
            <a:pPr defTabSz="914354" fontAlgn="auto">
              <a:lnSpc>
                <a:spcPct val="150000"/>
              </a:lnSpc>
              <a:spcBef>
                <a:spcPts val="0"/>
              </a:spcBef>
              <a:spcAft>
                <a:spcPts val="0"/>
              </a:spcAft>
              <a:defRPr/>
            </a:pPr>
            <a:r>
              <a:rPr lang="zh-CN" altLang="en-US" sz="1600" b="1" dirty="0">
                <a:solidFill>
                  <a:srgbClr val="FF6400"/>
                </a:solidFill>
              </a:rPr>
              <a:t>选择必经场景，具有封闭，强制，高效，等特征的优质场景媒体</a:t>
            </a:r>
            <a:endParaRPr lang="zh-CN" altLang="en-US" sz="1600" b="1" dirty="0">
              <a:solidFill>
                <a:srgbClr val="FF6400"/>
              </a:solidFill>
            </a:endParaRPr>
          </a:p>
        </p:txBody>
      </p:sp>
      <p:cxnSp>
        <p:nvCxnSpPr>
          <p:cNvPr id="39" name="MH_Other_8"/>
          <p:cNvCxnSpPr/>
          <p:nvPr>
            <p:custDataLst>
              <p:tags r:id="rId10"/>
            </p:custDataLst>
          </p:nvPr>
        </p:nvCxnSpPr>
        <p:spPr>
          <a:xfrm flipV="1">
            <a:off x="9469438" y="4067175"/>
            <a:ext cx="1878012" cy="1181100"/>
          </a:xfrm>
          <a:prstGeom prst="line">
            <a:avLst/>
          </a:prstGeom>
          <a:ln>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55660" name="Picture 5"/>
          <p:cNvPicPr>
            <a:picLocks noChangeAspect="1" noChangeArrowheads="1"/>
          </p:cNvPicPr>
          <p:nvPr/>
        </p:nvPicPr>
        <p:blipFill>
          <a:blip r:embed="rId13"/>
          <a:srcRect/>
          <a:stretch>
            <a:fillRect/>
          </a:stretch>
        </p:blipFill>
        <p:spPr bwMode="auto">
          <a:xfrm>
            <a:off x="911225" y="2565400"/>
            <a:ext cx="2808288" cy="2976563"/>
          </a:xfrm>
          <a:prstGeom prst="rect">
            <a:avLst/>
          </a:prstGeom>
          <a:noFill/>
          <a:ln w="9525">
            <a:noFill/>
            <a:miter lim="800000"/>
            <a:headEnd/>
            <a:tailEnd/>
          </a:ln>
        </p:spPr>
      </p:pic>
      <p:sp>
        <p:nvSpPr>
          <p:cNvPr id="155661" name="TextBox 6"/>
          <p:cNvSpPr txBox="1">
            <a:spLocks noChangeArrowheads="1"/>
          </p:cNvSpPr>
          <p:nvPr/>
        </p:nvSpPr>
        <p:spPr bwMode="auto">
          <a:xfrm>
            <a:off x="3792538" y="5157788"/>
            <a:ext cx="2490787" cy="368300"/>
          </a:xfrm>
          <a:prstGeom prst="rect">
            <a:avLst/>
          </a:prstGeom>
          <a:noFill/>
          <a:ln w="9525">
            <a:noFill/>
            <a:miter lim="800000"/>
            <a:headEnd/>
            <a:tailEnd/>
          </a:ln>
        </p:spPr>
        <p:txBody>
          <a:bodyPr lIns="91438" tIns="45719" rIns="91438" bIns="45719">
            <a:spAutoFit/>
          </a:bodyPr>
          <a:lstStyle/>
          <a:p>
            <a:r>
              <a:rPr lang="zh-CN" altLang="en-US" b="1">
                <a:solidFill>
                  <a:srgbClr val="C00000"/>
                </a:solidFill>
                <a:latin typeface="Calibri Light"/>
                <a:ea typeface="微软雅黑" pitchFamily="34" charset="-122"/>
              </a:rPr>
              <a:t>移动化</a:t>
            </a:r>
            <a:r>
              <a:rPr lang="en-US" altLang="zh-CN" b="1">
                <a:solidFill>
                  <a:srgbClr val="C00000"/>
                </a:solidFill>
                <a:latin typeface="Calibri Light"/>
                <a:ea typeface="微软雅黑" pitchFamily="34" charset="-122"/>
              </a:rPr>
              <a:t>-</a:t>
            </a:r>
            <a:r>
              <a:rPr lang="zh-CN" altLang="en-US" b="1">
                <a:solidFill>
                  <a:srgbClr val="C00000"/>
                </a:solidFill>
                <a:latin typeface="Calibri Light"/>
                <a:ea typeface="微软雅黑" pitchFamily="34" charset="-122"/>
              </a:rPr>
              <a:t>内容营销</a:t>
            </a:r>
          </a:p>
        </p:txBody>
      </p:sp>
      <p:sp>
        <p:nvSpPr>
          <p:cNvPr id="155662" name="TextBox 40"/>
          <p:cNvSpPr txBox="1">
            <a:spLocks noChangeArrowheads="1"/>
          </p:cNvSpPr>
          <p:nvPr/>
        </p:nvSpPr>
        <p:spPr bwMode="auto">
          <a:xfrm>
            <a:off x="9456738" y="5060950"/>
            <a:ext cx="2490787" cy="369888"/>
          </a:xfrm>
          <a:prstGeom prst="rect">
            <a:avLst/>
          </a:prstGeom>
          <a:noFill/>
          <a:ln w="9525">
            <a:noFill/>
            <a:miter lim="800000"/>
            <a:headEnd/>
            <a:tailEnd/>
          </a:ln>
        </p:spPr>
        <p:txBody>
          <a:bodyPr lIns="91438" tIns="45719" rIns="91438" bIns="45719">
            <a:spAutoFit/>
          </a:bodyPr>
          <a:lstStyle/>
          <a:p>
            <a:r>
              <a:rPr lang="zh-CN" altLang="en-US" b="1">
                <a:solidFill>
                  <a:srgbClr val="C00000"/>
                </a:solidFill>
                <a:latin typeface="Calibri Light"/>
                <a:ea typeface="微软雅黑" pitchFamily="34" charset="-122"/>
              </a:rPr>
              <a:t>被动化</a:t>
            </a:r>
            <a:r>
              <a:rPr lang="en-US" altLang="zh-CN" b="1">
                <a:solidFill>
                  <a:srgbClr val="C00000"/>
                </a:solidFill>
                <a:latin typeface="Calibri Light"/>
                <a:ea typeface="微软雅黑" pitchFamily="34" charset="-122"/>
              </a:rPr>
              <a:t>-</a:t>
            </a:r>
            <a:r>
              <a:rPr lang="zh-CN" altLang="en-US" b="1">
                <a:solidFill>
                  <a:srgbClr val="C00000"/>
                </a:solidFill>
                <a:latin typeface="Calibri Light"/>
                <a:ea typeface="微软雅黑" pitchFamily="34" charset="-122"/>
              </a:rPr>
              <a:t>场景营销</a:t>
            </a:r>
          </a:p>
        </p:txBody>
      </p:sp>
      <p:pic>
        <p:nvPicPr>
          <p:cNvPr id="155663" name="Picture 7"/>
          <p:cNvPicPr>
            <a:picLocks noChangeAspect="1" noChangeArrowheads="1"/>
          </p:cNvPicPr>
          <p:nvPr/>
        </p:nvPicPr>
        <p:blipFill>
          <a:blip r:embed="rId14"/>
          <a:srcRect/>
          <a:stretch>
            <a:fillRect/>
          </a:stretch>
        </p:blipFill>
        <p:spPr bwMode="auto">
          <a:xfrm>
            <a:off x="6480175" y="2522538"/>
            <a:ext cx="2784475" cy="3094037"/>
          </a:xfrm>
          <a:prstGeom prst="rect">
            <a:avLst/>
          </a:prstGeom>
          <a:noFill/>
          <a:ln w="9525">
            <a:noFill/>
            <a:miter lim="800000"/>
            <a:headEnd/>
            <a:tailEnd/>
          </a:ln>
        </p:spPr>
      </p:pic>
      <p:sp>
        <p:nvSpPr>
          <p:cNvPr id="18" name="TextBox 17"/>
          <p:cNvSpPr txBox="1"/>
          <p:nvPr/>
        </p:nvSpPr>
        <p:spPr>
          <a:xfrm>
            <a:off x="1103313" y="1508125"/>
            <a:ext cx="2736850" cy="893763"/>
          </a:xfrm>
          <a:prstGeom prst="rect">
            <a:avLst/>
          </a:prstGeom>
          <a:noFill/>
        </p:spPr>
        <p:txBody>
          <a:bodyPr lIns="91438" tIns="45719" rIns="91438" bIns="45719">
            <a:spAutoFit/>
          </a:bodyPr>
          <a:lstStyle/>
          <a:p>
            <a:pPr defTabSz="914354" fontAlgn="auto">
              <a:spcBef>
                <a:spcPts val="0"/>
              </a:spcBef>
              <a:spcAft>
                <a:spcPts val="0"/>
              </a:spcAft>
              <a:defRPr/>
            </a:pPr>
            <a:r>
              <a:rPr lang="zh-CN" altLang="en-US" sz="3200" b="1" dirty="0">
                <a:solidFill>
                  <a:srgbClr val="C00000"/>
                </a:solidFill>
                <a:effectLst>
                  <a:outerShdw blurRad="38100" dist="38100" dir="2700000" algn="tl">
                    <a:srgbClr val="000000">
                      <a:alpha val="43137"/>
                    </a:srgbClr>
                  </a:outerShdw>
                </a:effectLst>
                <a:latin typeface="+mn-lt"/>
                <a:ea typeface="+mn-ea"/>
              </a:rPr>
              <a:t>资讯模式变化</a:t>
            </a:r>
            <a:endParaRPr lang="en-US" altLang="zh-CN" sz="3200" b="1" dirty="0">
              <a:solidFill>
                <a:srgbClr val="C00000"/>
              </a:solidFill>
              <a:effectLst>
                <a:outerShdw blurRad="38100" dist="38100" dir="2700000" algn="tl">
                  <a:srgbClr val="000000">
                    <a:alpha val="43137"/>
                  </a:srgbClr>
                </a:outerShdw>
              </a:effectLst>
              <a:latin typeface="+mn-lt"/>
              <a:ea typeface="+mn-ea"/>
            </a:endParaRPr>
          </a:p>
          <a:p>
            <a:pPr defTabSz="914354" fontAlgn="auto">
              <a:spcBef>
                <a:spcPts val="0"/>
              </a:spcBef>
              <a:spcAft>
                <a:spcPts val="0"/>
              </a:spcAft>
              <a:defRPr/>
            </a:pPr>
            <a:r>
              <a:rPr lang="zh-CN" altLang="en-US" sz="2000" dirty="0">
                <a:solidFill>
                  <a:srgbClr val="000000"/>
                </a:solidFill>
                <a:latin typeface="+mn-lt"/>
                <a:ea typeface="+mn-ea"/>
              </a:rPr>
              <a:t>更多样，更复杂</a:t>
            </a:r>
            <a:endParaRPr lang="zh-CN" altLang="en-US" sz="2000" dirty="0">
              <a:solidFill>
                <a:srgbClr val="000000"/>
              </a:solidFill>
              <a:latin typeface="+mn-lt"/>
              <a:ea typeface="+mn-ea"/>
            </a:endParaRPr>
          </a:p>
        </p:txBody>
      </p:sp>
      <p:sp>
        <p:nvSpPr>
          <p:cNvPr id="19" name="TextBox 18"/>
          <p:cNvSpPr txBox="1"/>
          <p:nvPr/>
        </p:nvSpPr>
        <p:spPr>
          <a:xfrm>
            <a:off x="6575425" y="1508125"/>
            <a:ext cx="3324225" cy="800100"/>
          </a:xfrm>
          <a:prstGeom prst="rect">
            <a:avLst/>
          </a:prstGeom>
          <a:noFill/>
        </p:spPr>
        <p:txBody>
          <a:bodyPr lIns="91438" tIns="45719" rIns="91438" bIns="45719">
            <a:spAutoFit/>
          </a:bodyPr>
          <a:lstStyle/>
          <a:p>
            <a:pPr defTabSz="914354" fontAlgn="auto">
              <a:spcBef>
                <a:spcPts val="0"/>
              </a:spcBef>
              <a:spcAft>
                <a:spcPts val="0"/>
              </a:spcAft>
              <a:defRPr/>
            </a:pPr>
            <a:r>
              <a:rPr lang="zh-CN" altLang="en-US" sz="2700" b="1" dirty="0">
                <a:solidFill>
                  <a:srgbClr val="C00000"/>
                </a:solidFill>
                <a:effectLst>
                  <a:outerShdw blurRad="38100" dist="38100" dir="2700000" algn="tl">
                    <a:srgbClr val="000000">
                      <a:alpha val="43137"/>
                    </a:srgbClr>
                  </a:outerShdw>
                </a:effectLst>
                <a:latin typeface="+mn-lt"/>
                <a:ea typeface="+mn-ea"/>
              </a:rPr>
              <a:t>生活空间不变</a:t>
            </a:r>
            <a:endParaRPr lang="en-US" altLang="zh-CN" sz="2700" b="1" dirty="0">
              <a:solidFill>
                <a:srgbClr val="C00000"/>
              </a:solidFill>
              <a:effectLst>
                <a:outerShdw blurRad="38100" dist="38100" dir="2700000" algn="tl">
                  <a:srgbClr val="000000">
                    <a:alpha val="43137"/>
                  </a:srgbClr>
                </a:outerShdw>
              </a:effectLst>
              <a:latin typeface="+mn-lt"/>
              <a:ea typeface="+mn-ea"/>
            </a:endParaRPr>
          </a:p>
          <a:p>
            <a:pPr defTabSz="914354" fontAlgn="auto">
              <a:spcBef>
                <a:spcPts val="0"/>
              </a:spcBef>
              <a:spcAft>
                <a:spcPts val="0"/>
              </a:spcAft>
              <a:defRPr/>
            </a:pPr>
            <a:r>
              <a:rPr lang="zh-CN" altLang="en-US" sz="1900" dirty="0">
                <a:solidFill>
                  <a:srgbClr val="000000"/>
                </a:solidFill>
                <a:latin typeface="+mn-lt"/>
                <a:ea typeface="+mn-ea"/>
              </a:rPr>
              <a:t>消费者仍在原有场景中活动</a:t>
            </a:r>
            <a:endParaRPr lang="zh-CN" altLang="en-US" sz="1900" dirty="0">
              <a:solidFill>
                <a:srgbClr val="000000"/>
              </a:solidFill>
              <a:latin typeface="+mn-lt"/>
              <a:ea typeface="+mn-ea"/>
            </a:endParaRPr>
          </a:p>
        </p:txBody>
      </p:sp>
    </p:spTree>
    <p:custDataLst>
      <p:tags r:id="rId1"/>
    </p:custData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幻灯片编号占位符 2"/>
          <p:cNvSpPr>
            <a:spLocks noGrp="1"/>
          </p:cNvSpPr>
          <p:nvPr>
            <p:ph type="sldNum" sz="quarter" idx="10"/>
          </p:nvPr>
        </p:nvSpPr>
        <p:spPr bwMode="auto">
          <a:xfrm>
            <a:off x="5135563" y="6424613"/>
            <a:ext cx="2844800" cy="365125"/>
          </a:xfrm>
          <a:noFill/>
          <a:ln>
            <a:miter lim="800000"/>
            <a:headEnd/>
            <a:tailEnd/>
          </a:ln>
        </p:spPr>
        <p:txBody>
          <a:bodyPr vert="horz" wrap="square" lIns="91440" tIns="45720" rIns="91440" bIns="45720" numCol="1" anchor="t" anchorCtr="0" compatLnSpc="1">
            <a:prstTxWarp prst="textNoShape">
              <a:avLst/>
            </a:prstTxWarp>
          </a:bodyPr>
          <a:lstStyle/>
          <a:p>
            <a:pPr algn="l" defTabSz="912813" fontAlgn="base">
              <a:spcBef>
                <a:spcPct val="0"/>
              </a:spcBef>
              <a:spcAft>
                <a:spcPct val="0"/>
              </a:spcAft>
            </a:pPr>
            <a:fld id="{FDAF7FD6-49F1-453F-904A-B140D7DD92B5}" type="slidenum">
              <a:rPr lang="zh-CN" altLang="en-US" sz="1800">
                <a:solidFill>
                  <a:schemeClr val="tx1"/>
                </a:solidFill>
                <a:latin typeface="Calibri Light"/>
              </a:rPr>
              <a:pPr algn="l" defTabSz="912813" fontAlgn="base">
                <a:spcBef>
                  <a:spcPct val="0"/>
                </a:spcBef>
                <a:spcAft>
                  <a:spcPct val="0"/>
                </a:spcAft>
              </a:pPr>
              <a:t>9</a:t>
            </a:fld>
            <a:endParaRPr lang="en-US" altLang="zh-CN" sz="1800">
              <a:solidFill>
                <a:schemeClr val="tx1"/>
              </a:solidFill>
              <a:latin typeface="Calibri Light"/>
            </a:endParaRPr>
          </a:p>
        </p:txBody>
      </p:sp>
      <p:sp>
        <p:nvSpPr>
          <p:cNvPr id="5" name="副标题 5"/>
          <p:cNvSpPr txBox="1">
            <a:spLocks/>
          </p:cNvSpPr>
          <p:nvPr/>
        </p:nvSpPr>
        <p:spPr>
          <a:xfrm>
            <a:off x="0" y="1901825"/>
            <a:ext cx="12192000" cy="1047750"/>
          </a:xfrm>
          <a:prstGeom prst="rect">
            <a:avLst/>
          </a:prstGeom>
        </p:spPr>
        <p:txBody>
          <a:bodyPr lIns="121920" tIns="60960" rIns="121920" bIns="60960"/>
          <a:lstStyle/>
          <a:p>
            <a:pPr algn="just">
              <a:lnSpc>
                <a:spcPct val="150000"/>
              </a:lnSpc>
            </a:pPr>
            <a:r>
              <a:rPr lang="zh-CN" altLang="en-US" sz="4200" b="1">
                <a:solidFill>
                  <a:srgbClr val="FF0000"/>
                </a:solidFill>
                <a:latin typeface="黑体" pitchFamily="49" charset="-122"/>
                <a:ea typeface="黑体" pitchFamily="49" charset="-122"/>
              </a:rPr>
              <a:t>  如何找到占据心智的“那个词” “那句话”？</a:t>
            </a:r>
            <a:endParaRPr lang="en-US" altLang="zh-CN" sz="3200" b="1">
              <a:solidFill>
                <a:srgbClr val="FF0000"/>
              </a:solidFill>
              <a:latin typeface="黑体" pitchFamily="49" charset="-122"/>
              <a:ea typeface="黑体" pitchFamily="49" charset="-122"/>
            </a:endParaRPr>
          </a:p>
          <a:p>
            <a:pPr algn="just">
              <a:lnSpc>
                <a:spcPct val="150000"/>
              </a:lnSpc>
            </a:pPr>
            <a:r>
              <a:rPr lang="zh-CN" altLang="en-US" sz="3200" b="1">
                <a:solidFill>
                  <a:srgbClr val="262626"/>
                </a:solidFill>
                <a:latin typeface="黑体" pitchFamily="49" charset="-122"/>
                <a:ea typeface="黑体" pitchFamily="49" charset="-122"/>
              </a:rPr>
              <a:t>  </a:t>
            </a:r>
            <a:endParaRPr lang="en-US" altLang="zh-CN" sz="3200" b="1">
              <a:solidFill>
                <a:srgbClr val="262626"/>
              </a:solidFill>
              <a:latin typeface="黑体" pitchFamily="49" charset="-122"/>
              <a:ea typeface="黑体" pitchFamily="49" charset="-122"/>
            </a:endParaRPr>
          </a:p>
        </p:txBody>
      </p:sp>
      <p:sp>
        <p:nvSpPr>
          <p:cNvPr id="2" name="文本框 1"/>
          <p:cNvSpPr txBox="1"/>
          <p:nvPr/>
        </p:nvSpPr>
        <p:spPr>
          <a:xfrm>
            <a:off x="841375" y="3141663"/>
            <a:ext cx="2246313" cy="2062162"/>
          </a:xfrm>
          <a:prstGeom prst="rect">
            <a:avLst/>
          </a:prstGeom>
          <a:noFill/>
        </p:spPr>
        <p:txBody>
          <a:bodyPr wrap="none">
            <a:spAutoFit/>
          </a:bodyPr>
          <a:lstStyle/>
          <a:p>
            <a:pPr algn="just">
              <a:lnSpc>
                <a:spcPct val="150000"/>
              </a:lnSpc>
            </a:pPr>
            <a:r>
              <a:rPr lang="en-US" altLang="zh-CN" sz="3200" b="1">
                <a:solidFill>
                  <a:srgbClr val="262626"/>
                </a:solidFill>
                <a:latin typeface="黑体" pitchFamily="49" charset="-122"/>
                <a:ea typeface="黑体" pitchFamily="49" charset="-122"/>
              </a:rPr>
              <a:t>1.</a:t>
            </a:r>
            <a:r>
              <a:rPr lang="zh-CN" altLang="en-US" sz="3200" b="1">
                <a:solidFill>
                  <a:srgbClr val="262626"/>
                </a:solidFill>
                <a:latin typeface="黑体" pitchFamily="49" charset="-122"/>
                <a:ea typeface="黑体" pitchFamily="49" charset="-122"/>
              </a:rPr>
              <a:t>代言品类</a:t>
            </a:r>
            <a:endParaRPr lang="en-US" altLang="zh-CN" sz="3200" b="1">
              <a:solidFill>
                <a:srgbClr val="262626"/>
              </a:solidFill>
              <a:latin typeface="黑体" pitchFamily="49" charset="-122"/>
              <a:ea typeface="黑体" pitchFamily="49" charset="-122"/>
            </a:endParaRPr>
          </a:p>
          <a:p>
            <a:pPr algn="just">
              <a:lnSpc>
                <a:spcPct val="150000"/>
              </a:lnSpc>
            </a:pPr>
            <a:r>
              <a:rPr lang="en-US" altLang="zh-CN" sz="3200" b="1">
                <a:solidFill>
                  <a:srgbClr val="262626"/>
                </a:solidFill>
                <a:latin typeface="黑体" pitchFamily="49" charset="-122"/>
                <a:ea typeface="黑体" pitchFamily="49" charset="-122"/>
              </a:rPr>
              <a:t>2.</a:t>
            </a:r>
            <a:r>
              <a:rPr lang="zh-CN" altLang="en-US" sz="3200" b="1">
                <a:solidFill>
                  <a:srgbClr val="262626"/>
                </a:solidFill>
                <a:latin typeface="黑体" pitchFamily="49" charset="-122"/>
                <a:ea typeface="黑体" pitchFamily="49" charset="-122"/>
              </a:rPr>
              <a:t>占据特性</a:t>
            </a:r>
            <a:endParaRPr lang="en-US" altLang="zh-CN" sz="3200" b="1">
              <a:solidFill>
                <a:srgbClr val="262626"/>
              </a:solidFill>
              <a:latin typeface="黑体" pitchFamily="49" charset="-122"/>
              <a:ea typeface="黑体" pitchFamily="49" charset="-122"/>
            </a:endParaRPr>
          </a:p>
          <a:p>
            <a:pPr algn="just"/>
            <a:endParaRPr kumimoji="1" lang="zh-CN" altLang="en-US" sz="3200">
              <a:latin typeface="Calibri Light"/>
              <a:ea typeface="微软雅黑" pitchFamily="34" charset="-122"/>
            </a:endParaRPr>
          </a:p>
        </p:txBody>
      </p:sp>
      <p:sp>
        <p:nvSpPr>
          <p:cNvPr id="6" name="文本框 5"/>
          <p:cNvSpPr txBox="1"/>
          <p:nvPr/>
        </p:nvSpPr>
        <p:spPr>
          <a:xfrm>
            <a:off x="4565650" y="3135313"/>
            <a:ext cx="2657475" cy="2062162"/>
          </a:xfrm>
          <a:prstGeom prst="rect">
            <a:avLst/>
          </a:prstGeom>
          <a:noFill/>
        </p:spPr>
        <p:txBody>
          <a:bodyPr wrap="none">
            <a:spAutoFit/>
          </a:bodyPr>
          <a:lstStyle/>
          <a:p>
            <a:pPr algn="just">
              <a:lnSpc>
                <a:spcPct val="150000"/>
              </a:lnSpc>
            </a:pPr>
            <a:r>
              <a:rPr lang="en-US" altLang="zh-CN" sz="3200" b="1">
                <a:solidFill>
                  <a:srgbClr val="262626"/>
                </a:solidFill>
                <a:latin typeface="黑体" pitchFamily="49" charset="-122"/>
                <a:ea typeface="黑体" pitchFamily="49" charset="-122"/>
              </a:rPr>
              <a:t>3.</a:t>
            </a:r>
            <a:r>
              <a:rPr lang="zh-CN" altLang="en-US" sz="3200" b="1">
                <a:solidFill>
                  <a:srgbClr val="262626"/>
                </a:solidFill>
                <a:latin typeface="黑体" pitchFamily="49" charset="-122"/>
                <a:ea typeface="黑体" pitchFamily="49" charset="-122"/>
              </a:rPr>
              <a:t>聚焦业务</a:t>
            </a:r>
            <a:endParaRPr lang="en-US" altLang="zh-CN" sz="3200" b="1">
              <a:solidFill>
                <a:srgbClr val="262626"/>
              </a:solidFill>
              <a:latin typeface="黑体" pitchFamily="49" charset="-122"/>
              <a:ea typeface="黑体" pitchFamily="49" charset="-122"/>
            </a:endParaRPr>
          </a:p>
          <a:p>
            <a:pPr algn="just">
              <a:lnSpc>
                <a:spcPct val="150000"/>
              </a:lnSpc>
            </a:pPr>
            <a:r>
              <a:rPr lang="en-US" altLang="zh-CN" sz="3200" b="1">
                <a:solidFill>
                  <a:srgbClr val="262626"/>
                </a:solidFill>
                <a:latin typeface="黑体" pitchFamily="49" charset="-122"/>
                <a:ea typeface="黑体" pitchFamily="49" charset="-122"/>
              </a:rPr>
              <a:t>4.</a:t>
            </a:r>
            <a:r>
              <a:rPr lang="zh-CN" altLang="en-US" sz="3200" b="1">
                <a:solidFill>
                  <a:srgbClr val="262626"/>
                </a:solidFill>
                <a:latin typeface="黑体" pitchFamily="49" charset="-122"/>
                <a:ea typeface="黑体" pitchFamily="49" charset="-122"/>
              </a:rPr>
              <a:t>开创新品类</a:t>
            </a:r>
            <a:endParaRPr lang="en-US" altLang="zh-CN" sz="3200" b="1">
              <a:solidFill>
                <a:srgbClr val="262626"/>
              </a:solidFill>
              <a:latin typeface="黑体" pitchFamily="49" charset="-122"/>
              <a:ea typeface="黑体" pitchFamily="49" charset="-122"/>
            </a:endParaRPr>
          </a:p>
          <a:p>
            <a:pPr algn="just"/>
            <a:endParaRPr kumimoji="1" lang="zh-CN" altLang="en-US" sz="3200">
              <a:latin typeface="Calibri Light"/>
              <a:ea typeface="微软雅黑" pitchFamily="34" charset="-122"/>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5d1689c2b4b0426f5074b2b9106b30946242e157"/>
  <p:tag name="ISPRING_RESOURCE_PATHS_HASH_PRESENTER" val="4aec1c89ce8622b72f352d838f3b9b878f8a544"/>
</p:tagLst>
</file>

<file path=ppt/tags/tag10.xml><?xml version="1.0" encoding="utf-8"?>
<p:tagLst xmlns:a="http://schemas.openxmlformats.org/drawingml/2006/main" xmlns:r="http://schemas.openxmlformats.org/officeDocument/2006/relationships" xmlns:p="http://schemas.openxmlformats.org/presentationml/2006/main">
  <p:tag name="MH" val="20161011170407"/>
  <p:tag name="MH_LIBRARY" val="GRAPHIC"/>
  <p:tag name="MH_ORDER" val="Rectangle 21"/>
</p:tagLst>
</file>

<file path=ppt/tags/tag11.xml><?xml version="1.0" encoding="utf-8"?>
<p:tagLst xmlns:a="http://schemas.openxmlformats.org/drawingml/2006/main" xmlns:r="http://schemas.openxmlformats.org/officeDocument/2006/relationships" xmlns:p="http://schemas.openxmlformats.org/presentationml/2006/main">
  <p:tag name="MH" val="20161011170407"/>
  <p:tag name="MH_LIBRARY" val="GRAPHIC"/>
  <p:tag name="MH_ORDER" val="TextBox 10"/>
</p:tagLst>
</file>

<file path=ppt/tags/tag12.xml><?xml version="1.0" encoding="utf-8"?>
<p:tagLst xmlns:a="http://schemas.openxmlformats.org/drawingml/2006/main" xmlns:r="http://schemas.openxmlformats.org/officeDocument/2006/relationships" xmlns:p="http://schemas.openxmlformats.org/presentationml/2006/main">
  <p:tag name="MH" val="20151029145628"/>
  <p:tag name="MH_LIBRARY" val="GRAPHIC"/>
  <p:tag name="MH_TYPE" val="Other"/>
  <p:tag name="MH_ORDER" val="3"/>
</p:tagLst>
</file>

<file path=ppt/tags/tag13.xml><?xml version="1.0" encoding="utf-8"?>
<p:tagLst xmlns:a="http://schemas.openxmlformats.org/drawingml/2006/main" xmlns:r="http://schemas.openxmlformats.org/officeDocument/2006/relationships" xmlns:p="http://schemas.openxmlformats.org/presentationml/2006/main">
  <p:tag name="MH" val="20151029145628"/>
  <p:tag name="MH_LIBRARY" val="GRAPHIC"/>
  <p:tag name="MH_TYPE" val="Other"/>
  <p:tag name="MH_ORDER" val="5"/>
</p:tagLst>
</file>

<file path=ppt/tags/tag14.xml><?xml version="1.0" encoding="utf-8"?>
<p:tagLst xmlns:a="http://schemas.openxmlformats.org/drawingml/2006/main" xmlns:r="http://schemas.openxmlformats.org/officeDocument/2006/relationships" xmlns:p="http://schemas.openxmlformats.org/presentationml/2006/main">
  <p:tag name="MH" val="20151029145628"/>
  <p:tag name="MH_LIBRARY" val="GRAPHIC"/>
  <p:tag name="MH_TYPE" val="Other"/>
  <p:tag name="MH_ORDER" val="2"/>
</p:tagLst>
</file>

<file path=ppt/tags/tag15.xml><?xml version="1.0" encoding="utf-8"?>
<p:tagLst xmlns:a="http://schemas.openxmlformats.org/drawingml/2006/main" xmlns:r="http://schemas.openxmlformats.org/officeDocument/2006/relationships" xmlns:p="http://schemas.openxmlformats.org/presentationml/2006/main">
  <p:tag name="MH" val="20151029145628"/>
  <p:tag name="MH_LIBRARY" val="GRAPHIC"/>
  <p:tag name="MH_TYPE" val="Other"/>
  <p:tag name="MH_ORDER" val="4"/>
</p:tagLst>
</file>

<file path=ppt/tags/tag16.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YinZJG#"/>
  <p:tag name="MH_LAYOUT" val="SubTitleText"/>
  <p:tag name="MH" val="20160420102328"/>
  <p:tag name="MH_LIBRARY" val="GRAPHIC"/>
</p:tagLst>
</file>

<file path=ppt/tags/tag17.xml><?xml version="1.0" encoding="utf-8"?>
<p:tagLst xmlns:a="http://schemas.openxmlformats.org/drawingml/2006/main" xmlns:r="http://schemas.openxmlformats.org/officeDocument/2006/relationships" xmlns:p="http://schemas.openxmlformats.org/presentationml/2006/main">
  <p:tag name="MH" val="20160725200727"/>
  <p:tag name="MH_LIBRARY" val="GRAPHIC"/>
  <p:tag name="MH_TYPE" val="Other"/>
  <p:tag name="MH_ORDER" val="1"/>
</p:tagLst>
</file>

<file path=ppt/tags/tag18.xml><?xml version="1.0" encoding="utf-8"?>
<p:tagLst xmlns:a="http://schemas.openxmlformats.org/drawingml/2006/main" xmlns:r="http://schemas.openxmlformats.org/officeDocument/2006/relationships" xmlns:p="http://schemas.openxmlformats.org/presentationml/2006/main">
  <p:tag name="MH" val="20160725200727"/>
  <p:tag name="MH_LIBRARY" val="GRAPHIC"/>
  <p:tag name="MH_TYPE" val="Other"/>
  <p:tag name="MH_ORDER" val="3"/>
</p:tagLst>
</file>

<file path=ppt/tags/tag19.xml><?xml version="1.0" encoding="utf-8"?>
<p:tagLst xmlns:a="http://schemas.openxmlformats.org/drawingml/2006/main" xmlns:r="http://schemas.openxmlformats.org/officeDocument/2006/relationships" xmlns:p="http://schemas.openxmlformats.org/presentationml/2006/main">
  <p:tag name="MH" val="20160725200727"/>
  <p:tag name="MH_LIBRARY" val="GRAPHIC"/>
  <p:tag name="MH_TYPE" val="Other"/>
  <p:tag name="MH_ORDER" val="4"/>
</p:tagLst>
</file>

<file path=ppt/tags/tag2.xml><?xml version="1.0" encoding="utf-8"?>
<p:tagLst xmlns:a="http://schemas.openxmlformats.org/drawingml/2006/main" xmlns:r="http://schemas.openxmlformats.org/officeDocument/2006/relationships" xmlns:p="http://schemas.openxmlformats.org/presentationml/2006/main">
  <p:tag name="MH" val="20161011170407"/>
  <p:tag name="MH_LIBRARY" val="GRAPHIC"/>
</p:tagLst>
</file>

<file path=ppt/tags/tag20.xml><?xml version="1.0" encoding="utf-8"?>
<p:tagLst xmlns:a="http://schemas.openxmlformats.org/drawingml/2006/main" xmlns:r="http://schemas.openxmlformats.org/officeDocument/2006/relationships" xmlns:p="http://schemas.openxmlformats.org/presentationml/2006/main">
  <p:tag name="MH" val="20160725200727"/>
  <p:tag name="MH_LIBRARY" val="GRAPHIC"/>
  <p:tag name="MH_TYPE" val="Text"/>
  <p:tag name="MH_ORDER" val="1"/>
</p:tagLst>
</file>

<file path=ppt/tags/tag21.xml><?xml version="1.0" encoding="utf-8"?>
<p:tagLst xmlns:a="http://schemas.openxmlformats.org/drawingml/2006/main" xmlns:r="http://schemas.openxmlformats.org/officeDocument/2006/relationships" xmlns:p="http://schemas.openxmlformats.org/presentationml/2006/main">
  <p:tag name="MH" val="20160725200727"/>
  <p:tag name="MH_LIBRARY" val="GRAPHIC"/>
  <p:tag name="MH_TYPE" val="Other"/>
  <p:tag name="MH_ORDER" val="5"/>
</p:tagLst>
</file>

<file path=ppt/tags/tag22.xml><?xml version="1.0" encoding="utf-8"?>
<p:tagLst xmlns:a="http://schemas.openxmlformats.org/drawingml/2006/main" xmlns:r="http://schemas.openxmlformats.org/officeDocument/2006/relationships" xmlns:p="http://schemas.openxmlformats.org/presentationml/2006/main">
  <p:tag name="MH" val="20160725200727"/>
  <p:tag name="MH_LIBRARY" val="GRAPHIC"/>
  <p:tag name="MH_TYPE" val="Other"/>
  <p:tag name="MH_ORDER" val="6"/>
</p:tagLst>
</file>

<file path=ppt/tags/tag23.xml><?xml version="1.0" encoding="utf-8"?>
<p:tagLst xmlns:a="http://schemas.openxmlformats.org/drawingml/2006/main" xmlns:r="http://schemas.openxmlformats.org/officeDocument/2006/relationships" xmlns:p="http://schemas.openxmlformats.org/presentationml/2006/main">
  <p:tag name="MH" val="20160725200727"/>
  <p:tag name="MH_LIBRARY" val="GRAPHIC"/>
  <p:tag name="MH_TYPE" val="Other"/>
  <p:tag name="MH_ORDER" val="7"/>
</p:tagLst>
</file>

<file path=ppt/tags/tag24.xml><?xml version="1.0" encoding="utf-8"?>
<p:tagLst xmlns:a="http://schemas.openxmlformats.org/drawingml/2006/main" xmlns:r="http://schemas.openxmlformats.org/officeDocument/2006/relationships" xmlns:p="http://schemas.openxmlformats.org/presentationml/2006/main">
  <p:tag name="MH" val="20160725200727"/>
  <p:tag name="MH_LIBRARY" val="GRAPHIC"/>
  <p:tag name="MH_TYPE" val="Text"/>
  <p:tag name="MH_ORDER" val="2"/>
</p:tagLst>
</file>

<file path=ppt/tags/tag25.xml><?xml version="1.0" encoding="utf-8"?>
<p:tagLst xmlns:a="http://schemas.openxmlformats.org/drawingml/2006/main" xmlns:r="http://schemas.openxmlformats.org/officeDocument/2006/relationships" xmlns:p="http://schemas.openxmlformats.org/presentationml/2006/main">
  <p:tag name="MH" val="20160725200727"/>
  <p:tag name="MH_LIBRARY" val="GRAPHIC"/>
  <p:tag name="MH_TYPE" val="Other"/>
  <p:tag name="MH_ORDER" val="8"/>
</p:tagLst>
</file>

<file path=ppt/tags/tag3.xml><?xml version="1.0" encoding="utf-8"?>
<p:tagLst xmlns:a="http://schemas.openxmlformats.org/drawingml/2006/main" xmlns:r="http://schemas.openxmlformats.org/officeDocument/2006/relationships" xmlns:p="http://schemas.openxmlformats.org/presentationml/2006/main">
  <p:tag name="MH" val="20161011170407"/>
  <p:tag name="MH_LIBRARY" val="GRAPHIC"/>
  <p:tag name="MH_ORDER" val="Freeform 49"/>
</p:tagLst>
</file>

<file path=ppt/tags/tag4.xml><?xml version="1.0" encoding="utf-8"?>
<p:tagLst xmlns:a="http://schemas.openxmlformats.org/drawingml/2006/main" xmlns:r="http://schemas.openxmlformats.org/officeDocument/2006/relationships" xmlns:p="http://schemas.openxmlformats.org/presentationml/2006/main">
  <p:tag name="MH" val="20161011170407"/>
  <p:tag name="MH_LIBRARY" val="GRAPHIC"/>
  <p:tag name="MH_ORDER" val="Rectangle 7"/>
</p:tagLst>
</file>

<file path=ppt/tags/tag5.xml><?xml version="1.0" encoding="utf-8"?>
<p:tagLst xmlns:a="http://schemas.openxmlformats.org/drawingml/2006/main" xmlns:r="http://schemas.openxmlformats.org/officeDocument/2006/relationships" xmlns:p="http://schemas.openxmlformats.org/presentationml/2006/main">
  <p:tag name="MH" val="20161011170407"/>
  <p:tag name="MH_LIBRARY" val="GRAPHIC"/>
  <p:tag name="MH_ORDER" val="TextBox 1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x3je9F0Q0abn74STps5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kQ3nVmwmEOp9dViATVaag"/>
</p:tagLst>
</file>

<file path=ppt/tags/tag8.xml><?xml version="1.0" encoding="utf-8"?>
<p:tagLst xmlns:a="http://schemas.openxmlformats.org/drawingml/2006/main" xmlns:r="http://schemas.openxmlformats.org/officeDocument/2006/relationships" xmlns:p="http://schemas.openxmlformats.org/presentationml/2006/main">
  <p:tag name="MH" val="20161011170407"/>
  <p:tag name="MH_LIBRARY" val="GRAPHIC"/>
</p:tagLst>
</file>

<file path=ppt/tags/tag9.xml><?xml version="1.0" encoding="utf-8"?>
<p:tagLst xmlns:a="http://schemas.openxmlformats.org/drawingml/2006/main" xmlns:r="http://schemas.openxmlformats.org/officeDocument/2006/relationships" xmlns:p="http://schemas.openxmlformats.org/presentationml/2006/main">
  <p:tag name="MH" val="20161011170407"/>
  <p:tag name="MH_LIBRARY" val="GRAPHIC"/>
  <p:tag name="MH_ORDER" val="Freeform 51"/>
</p:tagLst>
</file>

<file path=ppt/theme/theme1.xml><?xml version="1.0" encoding="utf-8"?>
<a:theme xmlns:a="http://schemas.openxmlformats.org/drawingml/2006/main" name="10f8495b4f946cdcfb21b71a5942a6bea6cb245d">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7">
      <a:majorFont>
        <a:latin typeface="Calibri Light"/>
        <a:ea typeface="微软雅黑"/>
        <a:cs typeface=""/>
      </a:majorFont>
      <a:minorFont>
        <a:latin typeface="Calibri Light"/>
        <a:ea typeface="微软雅黑"/>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653</TotalTime>
  <Words>6217</Words>
  <Application>Microsoft Office PowerPoint</Application>
  <PresentationFormat>自定义</PresentationFormat>
  <Paragraphs>487</Paragraphs>
  <Slides>86</Slides>
  <Notes>32</Notes>
  <HiddenSlides>0</HiddenSlides>
  <MMClips>0</MMClips>
  <ScaleCrop>false</ScaleCrop>
  <HeadingPairs>
    <vt:vector size="8" baseType="variant">
      <vt:variant>
        <vt:lpstr>已用的字体</vt:lpstr>
      </vt:variant>
      <vt:variant>
        <vt:i4>19</vt:i4>
      </vt:variant>
      <vt:variant>
        <vt:lpstr>演示文稿设计模板</vt:lpstr>
      </vt:variant>
      <vt:variant>
        <vt:i4>28</vt:i4>
      </vt:variant>
      <vt:variant>
        <vt:lpstr>嵌入 OLE 服务器</vt:lpstr>
      </vt:variant>
      <vt:variant>
        <vt:i4>3</vt:i4>
      </vt:variant>
      <vt:variant>
        <vt:lpstr>幻灯片标题</vt:lpstr>
      </vt:variant>
      <vt:variant>
        <vt:i4>86</vt:i4>
      </vt:variant>
    </vt:vector>
  </HeadingPairs>
  <TitlesOfParts>
    <vt:vector size="136" baseType="lpstr">
      <vt:lpstr>Calibri Light</vt:lpstr>
      <vt:lpstr>微软雅黑</vt:lpstr>
      <vt:lpstr>Arial</vt:lpstr>
      <vt:lpstr>Calibri</vt:lpstr>
      <vt:lpstr>宋体</vt:lpstr>
      <vt:lpstr>华文隶书</vt:lpstr>
      <vt:lpstr>Wingdings 2</vt:lpstr>
      <vt:lpstr>黑体</vt:lpstr>
      <vt:lpstr>Times New Roman</vt:lpstr>
      <vt:lpstr>华文细黑</vt:lpstr>
      <vt:lpstr>Impact</vt:lpstr>
      <vt:lpstr>Wingdings</vt:lpstr>
      <vt:lpstr>华文中宋</vt:lpstr>
      <vt:lpstr>Kozuka Mincho Pr6N H</vt:lpstr>
      <vt:lpstr>Algerian</vt:lpstr>
      <vt:lpstr>Kozuka Mincho Pro H</vt:lpstr>
      <vt:lpstr>华文楷体</vt:lpstr>
      <vt:lpstr>华文新魏</vt:lpstr>
      <vt:lpstr>楷体</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10f8495b4f946cdcfb21b71a5942a6bea6cb245d</vt:lpstr>
      <vt:lpstr>Microsoft Excel 工作表</vt:lpstr>
      <vt:lpstr>Worksheet</vt:lpstr>
      <vt:lpstr>Microsoft Excel 图表</vt:lpstr>
      <vt:lpstr>人 心 比 流 量 更 重 要</vt:lpstr>
      <vt:lpstr>孙子兵法和战争论的启示    道，天，地，将，法 </vt:lpstr>
      <vt:lpstr>中国商战的核心要素    生产端，渠道端，还是用户心智端 </vt:lpstr>
      <vt:lpstr>幻灯片 4</vt:lpstr>
      <vt:lpstr>幻灯片 5</vt:lpstr>
      <vt:lpstr>幻灯片 6</vt:lpstr>
      <vt:lpstr>幻灯片 7</vt:lpstr>
      <vt:lpstr>幻灯片 8</vt:lpstr>
      <vt:lpstr>幻灯片 9</vt:lpstr>
      <vt:lpstr>幻灯片 10</vt:lpstr>
      <vt:lpstr>幻灯片 11</vt:lpstr>
      <vt:lpstr>幻灯片 12</vt:lpstr>
      <vt:lpstr>神州租车面临的困境——开局不利</vt:lpstr>
      <vt:lpstr>定位目标人群，下注电梯媒体</vt:lpstr>
      <vt:lpstr>广告投放后，半年反超对手</vt:lpstr>
      <vt:lpstr>7年持续投放，奠定绝对领导地位</vt:lpstr>
      <vt:lpstr>幻灯片 17</vt:lpstr>
      <vt:lpstr>幻灯片 18</vt:lpstr>
      <vt:lpstr>幻灯片 19</vt:lpstr>
      <vt:lpstr>案例分析-美团VS饿了么</vt:lpstr>
      <vt:lpstr>抢占心智，饿了么奇袭巨头</vt:lpstr>
      <vt:lpstr>广告投放后，AppStore排行榜上升</vt:lpstr>
      <vt:lpstr>用户数与销量齐飞</vt:lpstr>
      <vt:lpstr>建立品牌，赢得市场</vt:lpstr>
      <vt:lpstr>幻灯片 25</vt:lpstr>
      <vt:lpstr>订单数与销量，客单价齐涨</vt:lpstr>
      <vt:lpstr>幻灯片 27</vt:lpstr>
      <vt:lpstr>幻灯片 28</vt:lpstr>
      <vt:lpstr>幻灯片 29</vt:lpstr>
      <vt:lpstr>幻灯片 30</vt:lpstr>
      <vt:lpstr>幻灯片 31</vt:lpstr>
      <vt:lpstr>幻灯片 32</vt:lpstr>
      <vt:lpstr>幻灯片 33</vt:lpstr>
      <vt:lpstr>传播效果—— APP下载排名有显著提升</vt:lpstr>
      <vt:lpstr>投放效果：投放周期内有效提升受众及媒体关注度</vt:lpstr>
      <vt:lpstr>幻灯片 36</vt:lpstr>
      <vt:lpstr>幻灯片 37</vt:lpstr>
      <vt:lpstr>幻灯片 38</vt:lpstr>
      <vt:lpstr>幻灯片 39</vt:lpstr>
      <vt:lpstr>幻灯片 40</vt:lpstr>
      <vt:lpstr>幻灯片 41</vt:lpstr>
      <vt:lpstr>幻灯片 42</vt:lpstr>
      <vt:lpstr>幻灯片 43</vt:lpstr>
      <vt:lpstr>幻灯片 44</vt:lpstr>
      <vt:lpstr>幻灯片 45</vt:lpstr>
      <vt:lpstr>幻灯片 46</vt:lpstr>
      <vt:lpstr>幻灯片 47</vt:lpstr>
      <vt:lpstr>幻灯片 48</vt:lpstr>
      <vt:lpstr>幻灯片 49</vt:lpstr>
      <vt:lpstr>幻灯片 50</vt:lpstr>
      <vt:lpstr>幻灯片 51</vt:lpstr>
      <vt:lpstr>幻灯片 52</vt:lpstr>
      <vt:lpstr>幻灯片 53</vt:lpstr>
      <vt:lpstr>幻灯片 54</vt:lpstr>
      <vt:lpstr>幻灯片 55</vt:lpstr>
      <vt:lpstr>幻灯片 56</vt:lpstr>
      <vt:lpstr>幻灯片 57</vt:lpstr>
      <vt:lpstr>幻灯片 58</vt:lpstr>
      <vt:lpstr>幻灯片 59</vt:lpstr>
      <vt:lpstr>幻灯片 60</vt:lpstr>
      <vt:lpstr>幻灯片 61</vt:lpstr>
      <vt:lpstr>幻灯片 62</vt:lpstr>
      <vt:lpstr>幻灯片 63</vt:lpstr>
      <vt:lpstr>幻灯片 64</vt:lpstr>
      <vt:lpstr>幻灯片 65</vt:lpstr>
      <vt:lpstr>幻灯片 66</vt:lpstr>
      <vt:lpstr>消费升级和追求品质是中国市场刚需 优质的品牌仍可获得消费者溢价购买</vt:lpstr>
      <vt:lpstr>幻灯片 68</vt:lpstr>
      <vt:lpstr>幻灯片 69</vt:lpstr>
      <vt:lpstr>幻灯片 70</vt:lpstr>
      <vt:lpstr>幻灯片 71</vt:lpstr>
      <vt:lpstr>幻灯片 72</vt:lpstr>
      <vt:lpstr>消费市场 风向标人群</vt:lpstr>
      <vt:lpstr>幻灯片 74</vt:lpstr>
      <vt:lpstr>幻灯片 75</vt:lpstr>
      <vt:lpstr>2015年不同媒体增长差异明显分化</vt:lpstr>
      <vt:lpstr>2016年，新媒体仍保持逆势快速增长态势 </vt:lpstr>
      <vt:lpstr>媒体环境的改变</vt:lpstr>
      <vt:lpstr>资讯模式变化</vt:lpstr>
      <vt:lpstr>风向标人群与电视媒体渐行渐远</vt:lpstr>
      <vt:lpstr>风向标人群与电视媒体渐行渐远</vt:lpstr>
      <vt:lpstr>主流人群媒体习惯的巨变</vt:lpstr>
      <vt:lpstr>主流人群媒体习惯的巨变</vt:lpstr>
      <vt:lpstr>分众抓住了主流人群的核心场景</vt:lpstr>
      <vt:lpstr>幻灯片 85</vt:lpstr>
      <vt:lpstr>媒体环境中的：变与不变</vt:lpstr>
    </vt:vector>
  </TitlesOfParts>
  <Company>Slidepower</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Hansen</dc:creator>
  <cp:lastModifiedBy>apple</cp:lastModifiedBy>
  <cp:revision>692</cp:revision>
  <cp:lastPrinted>2016-07-26T03:46:49Z</cp:lastPrinted>
  <dcterms:created xsi:type="dcterms:W3CDTF">2014-09-30T08:51:45Z</dcterms:created>
  <dcterms:modified xsi:type="dcterms:W3CDTF">2017-08-24T04:39:13Z</dcterms:modified>
</cp:coreProperties>
</file>